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notesSlides/notesSlide1.xml" ContentType="application/vnd.openxmlformats-officedocument.presentationml.notesSlide+xml"/>
  <Override PartName="/ppt/tags/tag105.xml" ContentType="application/vnd.openxmlformats-officedocument.presentationml.tags+xml"/>
  <Override PartName="/ppt/notesSlides/notesSlide2.xml" ContentType="application/vnd.openxmlformats-officedocument.presentationml.notesSlide+xml"/>
  <Override PartName="/ppt/tags/tag106.xml" ContentType="application/vnd.openxmlformats-officedocument.presentationml.tags+xml"/>
  <Override PartName="/ppt/notesSlides/notesSlide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4.xml" ContentType="application/vnd.openxmlformats-officedocument.presentationml.notesSlide+xml"/>
  <Override PartName="/ppt/tags/tag116.xml" ContentType="application/vnd.openxmlformats-officedocument.presentationml.tags+xml"/>
  <Override PartName="/ppt/notesSlides/notesSlide5.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3" r:id="rId6"/>
    <p:sldMasterId id="2147483692" r:id="rId7"/>
    <p:sldMasterId id="2147483701" r:id="rId8"/>
    <p:sldMasterId id="2147483710" r:id="rId9"/>
    <p:sldMasterId id="2147483719" r:id="rId10"/>
    <p:sldMasterId id="2147483728" r:id="rId11"/>
    <p:sldMasterId id="2147483737" r:id="rId12"/>
  </p:sldMasterIdLst>
  <p:notesMasterIdLst>
    <p:notesMasterId r:id="rId31"/>
  </p:notesMasterIdLst>
  <p:handoutMasterIdLst>
    <p:handoutMasterId r:id="rId32"/>
  </p:handoutMasterIdLst>
  <p:sldIdLst>
    <p:sldId id="256" r:id="rId13"/>
    <p:sldId id="2183" r:id="rId14"/>
    <p:sldId id="2264" r:id="rId15"/>
    <p:sldId id="2251" r:id="rId16"/>
    <p:sldId id="2254" r:id="rId17"/>
    <p:sldId id="2255" r:id="rId18"/>
    <p:sldId id="2256" r:id="rId19"/>
    <p:sldId id="2257" r:id="rId20"/>
    <p:sldId id="2261" r:id="rId21"/>
    <p:sldId id="2262" r:id="rId22"/>
    <p:sldId id="2263" r:id="rId23"/>
    <p:sldId id="2270" r:id="rId24"/>
    <p:sldId id="2252" r:id="rId25"/>
    <p:sldId id="2271" r:id="rId26"/>
    <p:sldId id="2253" r:id="rId27"/>
    <p:sldId id="2268" r:id="rId28"/>
    <p:sldId id="2269" r:id="rId29"/>
    <p:sldId id="2149"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D3EFCE"/>
    <a:srgbClr val="EBF6DE"/>
    <a:srgbClr val="FF0000"/>
    <a:srgbClr val="D9D9D9"/>
    <a:srgbClr val="92D050"/>
    <a:srgbClr val="00B050"/>
    <a:srgbClr val="EBF2FF"/>
    <a:srgbClr val="C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413EB1-F580-483F-8249-BEDB9162E732}" v="6" dt="2023-06-14T02:54:04.3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987" autoAdjust="0"/>
  </p:normalViewPr>
  <p:slideViewPr>
    <p:cSldViewPr snapToGrid="0">
      <p:cViewPr varScale="1">
        <p:scale>
          <a:sx n="60" d="100"/>
          <a:sy n="60" d="100"/>
        </p:scale>
        <p:origin x="800"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978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microsoft.com/office/2016/11/relationships/changesInfo" Target="changesInfos/changesInfo1.xml"/><Relationship Id="rId21" Type="http://schemas.openxmlformats.org/officeDocument/2006/relationships/slide" Target="slides/slide9.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A0AC69FB-CC50-467D-9D7C-3ACB61EFF5A5}"/>
    <pc:docChg chg="undo custSel addSld delSld modSld">
      <pc:chgData name="Aurelien Domont" userId="6da7715ce44349b3" providerId="LiveId" clId="{A0AC69FB-CC50-467D-9D7C-3ACB61EFF5A5}" dt="2021-09-26T23:11:56.411" v="6666" actId="179"/>
      <pc:docMkLst>
        <pc:docMk/>
      </pc:docMkLst>
      <pc:sldChg chg="addSp delSp modSp add mod">
        <pc:chgData name="Aurelien Domont" userId="6da7715ce44349b3" providerId="LiveId" clId="{A0AC69FB-CC50-467D-9D7C-3ACB61EFF5A5}" dt="2021-09-26T22:07:22.735" v="5758"/>
        <pc:sldMkLst>
          <pc:docMk/>
          <pc:sldMk cId="1110778063" sldId="2183"/>
        </pc:sldMkLst>
        <pc:spChg chg="del">
          <ac:chgData name="Aurelien Domont" userId="6da7715ce44349b3" providerId="LiveId" clId="{A0AC69FB-CC50-467D-9D7C-3ACB61EFF5A5}" dt="2021-09-26T22:06:53.784" v="5756" actId="478"/>
          <ac:spMkLst>
            <pc:docMk/>
            <pc:sldMk cId="1110778063" sldId="2183"/>
            <ac:spMk id="15" creationId="{2A81C16F-CC22-4A25-B117-CEC9F23C11D8}"/>
          </ac:spMkLst>
        </pc:spChg>
        <pc:spChg chg="mod">
          <ac:chgData name="Aurelien Domont" userId="6da7715ce44349b3" providerId="LiveId" clId="{A0AC69FB-CC50-467D-9D7C-3ACB61EFF5A5}" dt="2021-09-26T22:06:32.299" v="5752" actId="20577"/>
          <ac:spMkLst>
            <pc:docMk/>
            <pc:sldMk cId="1110778063" sldId="2183"/>
            <ac:spMk id="16" creationId="{6C2BB713-9637-4B9B-938F-E9768876782A}"/>
          </ac:spMkLst>
        </pc:spChg>
        <pc:spChg chg="del">
          <ac:chgData name="Aurelien Domont" userId="6da7715ce44349b3" providerId="LiveId" clId="{A0AC69FB-CC50-467D-9D7C-3ACB61EFF5A5}" dt="2021-09-26T22:06:53.784" v="5756" actId="478"/>
          <ac:spMkLst>
            <pc:docMk/>
            <pc:sldMk cId="1110778063" sldId="2183"/>
            <ac:spMk id="17" creationId="{0612994F-4C0F-46A7-8C83-BD53F448356F}"/>
          </ac:spMkLst>
        </pc:spChg>
        <pc:spChg chg="del">
          <ac:chgData name="Aurelien Domont" userId="6da7715ce44349b3" providerId="LiveId" clId="{A0AC69FB-CC50-467D-9D7C-3ACB61EFF5A5}" dt="2021-09-26T22:06:53.784" v="5756" actId="478"/>
          <ac:spMkLst>
            <pc:docMk/>
            <pc:sldMk cId="1110778063" sldId="2183"/>
            <ac:spMk id="20" creationId="{694578FB-0D1F-4AB2-BDF6-6965DE3EA45D}"/>
          </ac:spMkLst>
        </pc:spChg>
        <pc:spChg chg="del mod">
          <ac:chgData name="Aurelien Domont" userId="6da7715ce44349b3" providerId="LiveId" clId="{A0AC69FB-CC50-467D-9D7C-3ACB61EFF5A5}" dt="2021-09-26T22:06:53.784" v="5756" actId="478"/>
          <ac:spMkLst>
            <pc:docMk/>
            <pc:sldMk cId="1110778063" sldId="2183"/>
            <ac:spMk id="21" creationId="{78553F3C-B34A-44DC-8F4A-FA9996E804C0}"/>
          </ac:spMkLst>
        </pc:spChg>
        <pc:spChg chg="del">
          <ac:chgData name="Aurelien Domont" userId="6da7715ce44349b3" providerId="LiveId" clId="{A0AC69FB-CC50-467D-9D7C-3ACB61EFF5A5}" dt="2021-09-26T22:06:53.784" v="5756" actId="478"/>
          <ac:spMkLst>
            <pc:docMk/>
            <pc:sldMk cId="1110778063" sldId="2183"/>
            <ac:spMk id="22" creationId="{53022067-A1B7-454B-9F78-6FB2CB988552}"/>
          </ac:spMkLst>
        </pc:spChg>
        <pc:spChg chg="add mod">
          <ac:chgData name="Aurelien Domont" userId="6da7715ce44349b3" providerId="LiveId" clId="{A0AC69FB-CC50-467D-9D7C-3ACB61EFF5A5}" dt="2021-09-26T22:07:22.735" v="5758"/>
          <ac:spMkLst>
            <pc:docMk/>
            <pc:sldMk cId="1110778063" sldId="2183"/>
            <ac:spMk id="23" creationId="{7B9FA3AD-AF8D-40A8-9573-59344738707E}"/>
          </ac:spMkLst>
        </pc:spChg>
        <pc:spChg chg="del mod">
          <ac:chgData name="Aurelien Domont" userId="6da7715ce44349b3" providerId="LiveId" clId="{A0AC69FB-CC50-467D-9D7C-3ACB61EFF5A5}" dt="2021-09-26T22:06:53.784" v="5756" actId="478"/>
          <ac:spMkLst>
            <pc:docMk/>
            <pc:sldMk cId="1110778063" sldId="2183"/>
            <ac:spMk id="24" creationId="{8BB249CC-737E-40A7-A0D4-49F800240E40}"/>
          </ac:spMkLst>
        </pc:spChg>
        <pc:spChg chg="add mod">
          <ac:chgData name="Aurelien Domont" userId="6da7715ce44349b3" providerId="LiveId" clId="{A0AC69FB-CC50-467D-9D7C-3ACB61EFF5A5}" dt="2021-09-26T22:07:22.735" v="5758"/>
          <ac:spMkLst>
            <pc:docMk/>
            <pc:sldMk cId="1110778063" sldId="2183"/>
            <ac:spMk id="26" creationId="{BBF5946F-CA10-418F-8D81-6E378B7EE910}"/>
          </ac:spMkLst>
        </pc:spChg>
        <pc:spChg chg="add mod">
          <ac:chgData name="Aurelien Domont" userId="6da7715ce44349b3" providerId="LiveId" clId="{A0AC69FB-CC50-467D-9D7C-3ACB61EFF5A5}" dt="2021-09-26T22:07:22.735" v="5758"/>
          <ac:spMkLst>
            <pc:docMk/>
            <pc:sldMk cId="1110778063" sldId="2183"/>
            <ac:spMk id="27" creationId="{17AD1FC9-CE01-44BA-8144-EDCFDD81897E}"/>
          </ac:spMkLst>
        </pc:spChg>
        <pc:spChg chg="add mod">
          <ac:chgData name="Aurelien Domont" userId="6da7715ce44349b3" providerId="LiveId" clId="{A0AC69FB-CC50-467D-9D7C-3ACB61EFF5A5}" dt="2021-09-26T22:07:22.735" v="5758"/>
          <ac:spMkLst>
            <pc:docMk/>
            <pc:sldMk cId="1110778063" sldId="2183"/>
            <ac:spMk id="29" creationId="{66754C0B-CA1C-4C2D-AC4F-001AF7C33ABC}"/>
          </ac:spMkLst>
        </pc:spChg>
        <pc:spChg chg="add mod">
          <ac:chgData name="Aurelien Domont" userId="6da7715ce44349b3" providerId="LiveId" clId="{A0AC69FB-CC50-467D-9D7C-3ACB61EFF5A5}" dt="2021-09-26T22:07:22.735" v="5758"/>
          <ac:spMkLst>
            <pc:docMk/>
            <pc:sldMk cId="1110778063" sldId="2183"/>
            <ac:spMk id="30" creationId="{758FD0C2-6EE2-475E-B5D8-963924FC9571}"/>
          </ac:spMkLst>
        </pc:spChg>
        <pc:spChg chg="del">
          <ac:chgData name="Aurelien Domont" userId="6da7715ce44349b3" providerId="LiveId" clId="{A0AC69FB-CC50-467D-9D7C-3ACB61EFF5A5}" dt="2021-09-26T22:06:56.216" v="5757" actId="478"/>
          <ac:spMkLst>
            <pc:docMk/>
            <pc:sldMk cId="1110778063" sldId="2183"/>
            <ac:spMk id="35" creationId="{32CD15F6-7334-4EFC-BEBC-0AA3A5ED870E}"/>
          </ac:spMkLst>
        </pc:spChg>
        <pc:spChg chg="del">
          <ac:chgData name="Aurelien Domont" userId="6da7715ce44349b3" providerId="LiveId" clId="{A0AC69FB-CC50-467D-9D7C-3ACB61EFF5A5}" dt="2021-09-26T22:06:53.784" v="5756" actId="478"/>
          <ac:spMkLst>
            <pc:docMk/>
            <pc:sldMk cId="1110778063" sldId="2183"/>
            <ac:spMk id="36" creationId="{9FDDE490-4E5E-4CC7-9B62-24A2AE550D99}"/>
          </ac:spMkLst>
        </pc:spChg>
        <pc:spChg chg="del">
          <ac:chgData name="Aurelien Domont" userId="6da7715ce44349b3" providerId="LiveId" clId="{A0AC69FB-CC50-467D-9D7C-3ACB61EFF5A5}" dt="2021-09-26T22:06:53.784" v="5756" actId="478"/>
          <ac:spMkLst>
            <pc:docMk/>
            <pc:sldMk cId="1110778063" sldId="2183"/>
            <ac:spMk id="37" creationId="{D806B388-9BB0-42EC-B26F-E83645BCF996}"/>
          </ac:spMkLst>
        </pc:spChg>
        <pc:spChg chg="del">
          <ac:chgData name="Aurelien Domont" userId="6da7715ce44349b3" providerId="LiveId" clId="{A0AC69FB-CC50-467D-9D7C-3ACB61EFF5A5}" dt="2021-09-26T22:06:53.784" v="5756" actId="478"/>
          <ac:spMkLst>
            <pc:docMk/>
            <pc:sldMk cId="1110778063" sldId="2183"/>
            <ac:spMk id="38" creationId="{DE83091C-D708-4C05-8EE4-A8A01069803B}"/>
          </ac:spMkLst>
        </pc:spChg>
        <pc:spChg chg="del">
          <ac:chgData name="Aurelien Domont" userId="6da7715ce44349b3" providerId="LiveId" clId="{A0AC69FB-CC50-467D-9D7C-3ACB61EFF5A5}" dt="2021-09-26T22:06:53.784" v="5756" actId="478"/>
          <ac:spMkLst>
            <pc:docMk/>
            <pc:sldMk cId="1110778063" sldId="2183"/>
            <ac:spMk id="39" creationId="{9285E603-4312-4F5A-B1EB-1A8D74E2221B}"/>
          </ac:spMkLst>
        </pc:spChg>
        <pc:spChg chg="del">
          <ac:chgData name="Aurelien Domont" userId="6da7715ce44349b3" providerId="LiveId" clId="{A0AC69FB-CC50-467D-9D7C-3ACB61EFF5A5}" dt="2021-09-26T22:06:36.141" v="5753" actId="478"/>
          <ac:spMkLst>
            <pc:docMk/>
            <pc:sldMk cId="1110778063" sldId="2183"/>
            <ac:spMk id="40" creationId="{EAF5868B-382A-43AD-B3A1-1A535E83837F}"/>
          </ac:spMkLst>
        </pc:spChg>
        <pc:spChg chg="add mod">
          <ac:chgData name="Aurelien Domont" userId="6da7715ce44349b3" providerId="LiveId" clId="{A0AC69FB-CC50-467D-9D7C-3ACB61EFF5A5}" dt="2021-09-26T22:07:22.735" v="5758"/>
          <ac:spMkLst>
            <pc:docMk/>
            <pc:sldMk cId="1110778063" sldId="2183"/>
            <ac:spMk id="41" creationId="{3AD0AD56-3172-4435-B76D-9D25EA28C0AD}"/>
          </ac:spMkLst>
        </pc:spChg>
        <pc:spChg chg="add mod">
          <ac:chgData name="Aurelien Domont" userId="6da7715ce44349b3" providerId="LiveId" clId="{A0AC69FB-CC50-467D-9D7C-3ACB61EFF5A5}" dt="2021-09-26T22:07:22.735" v="5758"/>
          <ac:spMkLst>
            <pc:docMk/>
            <pc:sldMk cId="1110778063" sldId="2183"/>
            <ac:spMk id="52" creationId="{8B8C41BE-736E-435A-BE85-91948006C23C}"/>
          </ac:spMkLst>
        </pc:spChg>
        <pc:spChg chg="add mod">
          <ac:chgData name="Aurelien Domont" userId="6da7715ce44349b3" providerId="LiveId" clId="{A0AC69FB-CC50-467D-9D7C-3ACB61EFF5A5}" dt="2021-09-26T22:07:22.735" v="5758"/>
          <ac:spMkLst>
            <pc:docMk/>
            <pc:sldMk cId="1110778063" sldId="2183"/>
            <ac:spMk id="53" creationId="{B50669CA-264A-4849-B6BB-E3A0BE40742E}"/>
          </ac:spMkLst>
        </pc:spChg>
        <pc:spChg chg="add mod">
          <ac:chgData name="Aurelien Domont" userId="6da7715ce44349b3" providerId="LiveId" clId="{A0AC69FB-CC50-467D-9D7C-3ACB61EFF5A5}" dt="2021-09-26T22:07:22.735" v="5758"/>
          <ac:spMkLst>
            <pc:docMk/>
            <pc:sldMk cId="1110778063" sldId="2183"/>
            <ac:spMk id="54" creationId="{887E5116-AD69-48E3-9367-4A4D205A98F5}"/>
          </ac:spMkLst>
        </pc:spChg>
        <pc:spChg chg="add mod">
          <ac:chgData name="Aurelien Domont" userId="6da7715ce44349b3" providerId="LiveId" clId="{A0AC69FB-CC50-467D-9D7C-3ACB61EFF5A5}" dt="2021-09-26T22:07:22.735" v="5758"/>
          <ac:spMkLst>
            <pc:docMk/>
            <pc:sldMk cId="1110778063" sldId="2183"/>
            <ac:spMk id="55" creationId="{D792BDE0-03E7-45F7-9AA5-EE68EBDE65FC}"/>
          </ac:spMkLst>
        </pc:spChg>
        <pc:spChg chg="add mod">
          <ac:chgData name="Aurelien Domont" userId="6da7715ce44349b3" providerId="LiveId" clId="{A0AC69FB-CC50-467D-9D7C-3ACB61EFF5A5}" dt="2021-09-26T22:07:22.735" v="5758"/>
          <ac:spMkLst>
            <pc:docMk/>
            <pc:sldMk cId="1110778063" sldId="2183"/>
            <ac:spMk id="56" creationId="{7A9F9A1B-1CCB-4B8D-A21A-A40995A651F8}"/>
          </ac:spMkLst>
        </pc:spChg>
        <pc:spChg chg="add mod">
          <ac:chgData name="Aurelien Domont" userId="6da7715ce44349b3" providerId="LiveId" clId="{A0AC69FB-CC50-467D-9D7C-3ACB61EFF5A5}" dt="2021-09-26T22:07:22.735" v="5758"/>
          <ac:spMkLst>
            <pc:docMk/>
            <pc:sldMk cId="1110778063" sldId="2183"/>
            <ac:spMk id="58" creationId="{5A31936C-2BC2-4C07-93D8-17AECBC5835A}"/>
          </ac:spMkLst>
        </pc:spChg>
        <pc:picChg chg="del">
          <ac:chgData name="Aurelien Domont" userId="6da7715ce44349b3" providerId="LiveId" clId="{A0AC69FB-CC50-467D-9D7C-3ACB61EFF5A5}" dt="2021-09-26T22:06:53.784" v="5756" actId="478"/>
          <ac:picMkLst>
            <pc:docMk/>
            <pc:sldMk cId="1110778063" sldId="2183"/>
            <ac:picMk id="25" creationId="{3E48B280-594D-4FB1-B252-D4F6C193496A}"/>
          </ac:picMkLst>
        </pc:picChg>
        <pc:picChg chg="del">
          <ac:chgData name="Aurelien Domont" userId="6da7715ce44349b3" providerId="LiveId" clId="{A0AC69FB-CC50-467D-9D7C-3ACB61EFF5A5}" dt="2021-09-26T22:06:56.216" v="5757" actId="478"/>
          <ac:picMkLst>
            <pc:docMk/>
            <pc:sldMk cId="1110778063" sldId="2183"/>
            <ac:picMk id="28" creationId="{F40B3C19-B651-4036-A19F-480ECEDD0BEA}"/>
          </ac:picMkLst>
        </pc:picChg>
        <pc:picChg chg="del">
          <ac:chgData name="Aurelien Domont" userId="6da7715ce44349b3" providerId="LiveId" clId="{A0AC69FB-CC50-467D-9D7C-3ACB61EFF5A5}" dt="2021-09-26T22:06:53.784" v="5756" actId="478"/>
          <ac:picMkLst>
            <pc:docMk/>
            <pc:sldMk cId="1110778063" sldId="2183"/>
            <ac:picMk id="31" creationId="{DC553BE9-8D0D-4610-ADD3-CD2E43B35308}"/>
          </ac:picMkLst>
        </pc:picChg>
        <pc:picChg chg="del">
          <ac:chgData name="Aurelien Domont" userId="6da7715ce44349b3" providerId="LiveId" clId="{A0AC69FB-CC50-467D-9D7C-3ACB61EFF5A5}" dt="2021-09-26T22:06:53.784" v="5756" actId="478"/>
          <ac:picMkLst>
            <pc:docMk/>
            <pc:sldMk cId="1110778063" sldId="2183"/>
            <ac:picMk id="32" creationId="{AEE2B5AC-D136-4C1E-8747-B3D879077EF5}"/>
          </ac:picMkLst>
        </pc:picChg>
        <pc:picChg chg="del">
          <ac:chgData name="Aurelien Domont" userId="6da7715ce44349b3" providerId="LiveId" clId="{A0AC69FB-CC50-467D-9D7C-3ACB61EFF5A5}" dt="2021-09-26T22:06:53.784" v="5756" actId="478"/>
          <ac:picMkLst>
            <pc:docMk/>
            <pc:sldMk cId="1110778063" sldId="2183"/>
            <ac:picMk id="33" creationId="{3C0FEB8A-33E0-46C0-9F51-2127C8FB5F08}"/>
          </ac:picMkLst>
        </pc:picChg>
        <pc:picChg chg="del">
          <ac:chgData name="Aurelien Domont" userId="6da7715ce44349b3" providerId="LiveId" clId="{A0AC69FB-CC50-467D-9D7C-3ACB61EFF5A5}" dt="2021-09-26T22:06:53.784" v="5756" actId="478"/>
          <ac:picMkLst>
            <pc:docMk/>
            <pc:sldMk cId="1110778063" sldId="2183"/>
            <ac:picMk id="34" creationId="{6F58A75D-CBCA-410B-BC60-E57C1A43A775}"/>
          </ac:picMkLst>
        </pc:picChg>
        <pc:picChg chg="add mod">
          <ac:chgData name="Aurelien Domont" userId="6da7715ce44349b3" providerId="LiveId" clId="{A0AC69FB-CC50-467D-9D7C-3ACB61EFF5A5}" dt="2021-09-26T22:07:22.735" v="5758"/>
          <ac:picMkLst>
            <pc:docMk/>
            <pc:sldMk cId="1110778063" sldId="2183"/>
            <ac:picMk id="42" creationId="{6737E2A4-A3EE-493C-B688-574D4E94CF7C}"/>
          </ac:picMkLst>
        </pc:picChg>
        <pc:picChg chg="add mod">
          <ac:chgData name="Aurelien Domont" userId="6da7715ce44349b3" providerId="LiveId" clId="{A0AC69FB-CC50-467D-9D7C-3ACB61EFF5A5}" dt="2021-09-26T22:07:22.735" v="5758"/>
          <ac:picMkLst>
            <pc:docMk/>
            <pc:sldMk cId="1110778063" sldId="2183"/>
            <ac:picMk id="43" creationId="{2FA9F5E0-193C-42CE-9317-51EDFC24D78F}"/>
          </ac:picMkLst>
        </pc:picChg>
        <pc:picChg chg="add mod">
          <ac:chgData name="Aurelien Domont" userId="6da7715ce44349b3" providerId="LiveId" clId="{A0AC69FB-CC50-467D-9D7C-3ACB61EFF5A5}" dt="2021-09-26T22:07:22.735" v="5758"/>
          <ac:picMkLst>
            <pc:docMk/>
            <pc:sldMk cId="1110778063" sldId="2183"/>
            <ac:picMk id="44" creationId="{2965BF43-FB69-4966-9A0C-BE2B595ADA1E}"/>
          </ac:picMkLst>
        </pc:picChg>
        <pc:picChg chg="add mod">
          <ac:chgData name="Aurelien Domont" userId="6da7715ce44349b3" providerId="LiveId" clId="{A0AC69FB-CC50-467D-9D7C-3ACB61EFF5A5}" dt="2021-09-26T22:07:22.735" v="5758"/>
          <ac:picMkLst>
            <pc:docMk/>
            <pc:sldMk cId="1110778063" sldId="2183"/>
            <ac:picMk id="45" creationId="{7B968E34-5367-40AE-A87C-F73F973AB0B3}"/>
          </ac:picMkLst>
        </pc:picChg>
        <pc:picChg chg="add mod">
          <ac:chgData name="Aurelien Domont" userId="6da7715ce44349b3" providerId="LiveId" clId="{A0AC69FB-CC50-467D-9D7C-3ACB61EFF5A5}" dt="2021-09-26T22:07:22.735" v="5758"/>
          <ac:picMkLst>
            <pc:docMk/>
            <pc:sldMk cId="1110778063" sldId="2183"/>
            <ac:picMk id="46" creationId="{0FFC7638-D5BC-4297-B66D-36AD11BCB403}"/>
          </ac:picMkLst>
        </pc:picChg>
        <pc:picChg chg="add mod">
          <ac:chgData name="Aurelien Domont" userId="6da7715ce44349b3" providerId="LiveId" clId="{A0AC69FB-CC50-467D-9D7C-3ACB61EFF5A5}" dt="2021-09-26T22:07:22.735" v="5758"/>
          <ac:picMkLst>
            <pc:docMk/>
            <pc:sldMk cId="1110778063" sldId="2183"/>
            <ac:picMk id="57" creationId="{A7C289DF-D082-459A-A7F4-C5F4C7F8EC45}"/>
          </ac:picMkLst>
        </pc:picChg>
        <pc:cxnChg chg="add mod">
          <ac:chgData name="Aurelien Domont" userId="6da7715ce44349b3" providerId="LiveId" clId="{A0AC69FB-CC50-467D-9D7C-3ACB61EFF5A5}" dt="2021-09-26T22:07:22.735" v="5758"/>
          <ac:cxnSpMkLst>
            <pc:docMk/>
            <pc:sldMk cId="1110778063" sldId="2183"/>
            <ac:cxnSpMk id="47" creationId="{7BB6C174-1A07-4A94-B6CD-0D4E5C95D3EF}"/>
          </ac:cxnSpMkLst>
        </pc:cxnChg>
        <pc:cxnChg chg="add mod">
          <ac:chgData name="Aurelien Domont" userId="6da7715ce44349b3" providerId="LiveId" clId="{A0AC69FB-CC50-467D-9D7C-3ACB61EFF5A5}" dt="2021-09-26T22:07:22.735" v="5758"/>
          <ac:cxnSpMkLst>
            <pc:docMk/>
            <pc:sldMk cId="1110778063" sldId="2183"/>
            <ac:cxnSpMk id="48" creationId="{EECF1CC2-7D43-4BD9-83CA-CC16DE7860E2}"/>
          </ac:cxnSpMkLst>
        </pc:cxnChg>
        <pc:cxnChg chg="add mod">
          <ac:chgData name="Aurelien Domont" userId="6da7715ce44349b3" providerId="LiveId" clId="{A0AC69FB-CC50-467D-9D7C-3ACB61EFF5A5}" dt="2021-09-26T22:07:22.735" v="5758"/>
          <ac:cxnSpMkLst>
            <pc:docMk/>
            <pc:sldMk cId="1110778063" sldId="2183"/>
            <ac:cxnSpMk id="49" creationId="{84EE96C3-363C-4A7F-9B6D-F6BC80E0FA66}"/>
          </ac:cxnSpMkLst>
        </pc:cxnChg>
        <pc:cxnChg chg="add mod">
          <ac:chgData name="Aurelien Domont" userId="6da7715ce44349b3" providerId="LiveId" clId="{A0AC69FB-CC50-467D-9D7C-3ACB61EFF5A5}" dt="2021-09-26T22:07:22.735" v="5758"/>
          <ac:cxnSpMkLst>
            <pc:docMk/>
            <pc:sldMk cId="1110778063" sldId="2183"/>
            <ac:cxnSpMk id="50" creationId="{C0D4981F-72C4-48AF-B555-98D79E0A869F}"/>
          </ac:cxnSpMkLst>
        </pc:cxnChg>
        <pc:cxnChg chg="add mod">
          <ac:chgData name="Aurelien Domont" userId="6da7715ce44349b3" providerId="LiveId" clId="{A0AC69FB-CC50-467D-9D7C-3ACB61EFF5A5}" dt="2021-09-26T22:07:22.735" v="5758"/>
          <ac:cxnSpMkLst>
            <pc:docMk/>
            <pc:sldMk cId="1110778063" sldId="2183"/>
            <ac:cxnSpMk id="51" creationId="{D2B4E729-73B4-4A6B-9408-EC2D6B8B95CB}"/>
          </ac:cxnSpMkLst>
        </pc:cxnChg>
      </pc:sldChg>
      <pc:sldChg chg="addSp modSp mod">
        <pc:chgData name="Aurelien Domont" userId="6da7715ce44349b3" providerId="LiveId" clId="{A0AC69FB-CC50-467D-9D7C-3ACB61EFF5A5}" dt="2021-09-26T23:05:12.715" v="6542" actId="404"/>
        <pc:sldMkLst>
          <pc:docMk/>
          <pc:sldMk cId="3940640137" sldId="2251"/>
        </pc:sldMkLst>
        <pc:spChg chg="mod">
          <ac:chgData name="Aurelien Domont" userId="6da7715ce44349b3" providerId="LiveId" clId="{A0AC69FB-CC50-467D-9D7C-3ACB61EFF5A5}" dt="2021-09-24T07:10:25.572" v="5287" actId="404"/>
          <ac:spMkLst>
            <pc:docMk/>
            <pc:sldMk cId="3940640137" sldId="2251"/>
            <ac:spMk id="2" creationId="{63F277BE-B192-4EBA-977A-D3854CBCD4C8}"/>
          </ac:spMkLst>
        </pc:spChg>
        <pc:spChg chg="mod">
          <ac:chgData name="Aurelien Domont" userId="6da7715ce44349b3" providerId="LiveId" clId="{A0AC69FB-CC50-467D-9D7C-3ACB61EFF5A5}" dt="2021-09-24T05:37:27.640" v="2452" actId="20577"/>
          <ac:spMkLst>
            <pc:docMk/>
            <pc:sldMk cId="3940640137" sldId="2251"/>
            <ac:spMk id="3" creationId="{6BE1B6B4-87AF-4A0F-9A81-38B388B86D24}"/>
          </ac:spMkLst>
        </pc:spChg>
        <pc:spChg chg="add mod">
          <ac:chgData name="Aurelien Domont" userId="6da7715ce44349b3" providerId="LiveId" clId="{A0AC69FB-CC50-467D-9D7C-3ACB61EFF5A5}" dt="2021-09-26T23:05:12.715" v="6542" actId="404"/>
          <ac:spMkLst>
            <pc:docMk/>
            <pc:sldMk cId="3940640137" sldId="2251"/>
            <ac:spMk id="5" creationId="{6C572F2B-C91D-48DB-AA98-3A5E2A876E7E}"/>
          </ac:spMkLst>
        </pc:spChg>
      </pc:sldChg>
      <pc:sldChg chg="addSp delSp modSp mod">
        <pc:chgData name="Aurelien Domont" userId="6da7715ce44349b3" providerId="LiveId" clId="{A0AC69FB-CC50-467D-9D7C-3ACB61EFF5A5}" dt="2021-09-26T23:05:01.593" v="6540" actId="404"/>
        <pc:sldMkLst>
          <pc:docMk/>
          <pc:sldMk cId="2450384298" sldId="2252"/>
        </pc:sldMkLst>
        <pc:spChg chg="mod">
          <ac:chgData name="Aurelien Domont" userId="6da7715ce44349b3" providerId="LiveId" clId="{A0AC69FB-CC50-467D-9D7C-3ACB61EFF5A5}" dt="2021-09-26T22:19:45.407" v="6091" actId="20577"/>
          <ac:spMkLst>
            <pc:docMk/>
            <pc:sldMk cId="2450384298" sldId="2252"/>
            <ac:spMk id="3" creationId="{6BE1B6B4-87AF-4A0F-9A81-38B388B86D24}"/>
          </ac:spMkLst>
        </pc:spChg>
        <pc:spChg chg="add mod">
          <ac:chgData name="Aurelien Domont" userId="6da7715ce44349b3" providerId="LiveId" clId="{A0AC69FB-CC50-467D-9D7C-3ACB61EFF5A5}" dt="2021-09-26T22:19:13.626" v="6088" actId="1035"/>
          <ac:spMkLst>
            <pc:docMk/>
            <pc:sldMk cId="2450384298" sldId="2252"/>
            <ac:spMk id="5" creationId="{2D523972-59B8-414D-BB51-934740F273E2}"/>
          </ac:spMkLst>
        </pc:spChg>
        <pc:spChg chg="add del mod">
          <ac:chgData name="Aurelien Domont" userId="6da7715ce44349b3" providerId="LiveId" clId="{A0AC69FB-CC50-467D-9D7C-3ACB61EFF5A5}" dt="2021-09-24T07:54:19.203" v="5656" actId="478"/>
          <ac:spMkLst>
            <pc:docMk/>
            <pc:sldMk cId="2450384298" sldId="2252"/>
            <ac:spMk id="6" creationId="{EFAFD8C6-B1DC-4255-BED3-0C7511130302}"/>
          </ac:spMkLst>
        </pc:spChg>
        <pc:spChg chg="add mod">
          <ac:chgData name="Aurelien Domont" userId="6da7715ce44349b3" providerId="LiveId" clId="{A0AC69FB-CC50-467D-9D7C-3ACB61EFF5A5}" dt="2021-09-26T22:19:13.626" v="6088" actId="1035"/>
          <ac:spMkLst>
            <pc:docMk/>
            <pc:sldMk cId="2450384298" sldId="2252"/>
            <ac:spMk id="7" creationId="{B9552CD0-EEE8-41B2-BFCA-BAF171B62194}"/>
          </ac:spMkLst>
        </pc:spChg>
        <pc:spChg chg="add mod">
          <ac:chgData name="Aurelien Domont" userId="6da7715ce44349b3" providerId="LiveId" clId="{A0AC69FB-CC50-467D-9D7C-3ACB61EFF5A5}" dt="2021-09-26T22:19:19.496" v="6089" actId="465"/>
          <ac:spMkLst>
            <pc:docMk/>
            <pc:sldMk cId="2450384298" sldId="2252"/>
            <ac:spMk id="8" creationId="{59370832-13D0-4E60-871E-40FEBA645DF3}"/>
          </ac:spMkLst>
        </pc:spChg>
        <pc:spChg chg="add mod">
          <ac:chgData name="Aurelien Domont" userId="6da7715ce44349b3" providerId="LiveId" clId="{A0AC69FB-CC50-467D-9D7C-3ACB61EFF5A5}" dt="2021-09-26T22:19:23.928" v="6090" actId="465"/>
          <ac:spMkLst>
            <pc:docMk/>
            <pc:sldMk cId="2450384298" sldId="2252"/>
            <ac:spMk id="9" creationId="{1C8D0B55-E23D-4373-9D72-802AE9674FBF}"/>
          </ac:spMkLst>
        </pc:spChg>
        <pc:spChg chg="add mod">
          <ac:chgData name="Aurelien Domont" userId="6da7715ce44349b3" providerId="LiveId" clId="{A0AC69FB-CC50-467D-9D7C-3ACB61EFF5A5}" dt="2021-09-26T22:19:19.496" v="6089" actId="465"/>
          <ac:spMkLst>
            <pc:docMk/>
            <pc:sldMk cId="2450384298" sldId="2252"/>
            <ac:spMk id="10" creationId="{24523FCB-B2E6-425F-B74B-5C18F43890B0}"/>
          </ac:spMkLst>
        </pc:spChg>
        <pc:spChg chg="add mod">
          <ac:chgData name="Aurelien Domont" userId="6da7715ce44349b3" providerId="LiveId" clId="{A0AC69FB-CC50-467D-9D7C-3ACB61EFF5A5}" dt="2021-09-26T22:19:23.928" v="6090" actId="465"/>
          <ac:spMkLst>
            <pc:docMk/>
            <pc:sldMk cId="2450384298" sldId="2252"/>
            <ac:spMk id="11" creationId="{16B86A63-D939-4D60-8AC3-43D66878D262}"/>
          </ac:spMkLst>
        </pc:spChg>
        <pc:spChg chg="add mod">
          <ac:chgData name="Aurelien Domont" userId="6da7715ce44349b3" providerId="LiveId" clId="{A0AC69FB-CC50-467D-9D7C-3ACB61EFF5A5}" dt="2021-09-26T22:16:42.465" v="6028" actId="571"/>
          <ac:spMkLst>
            <pc:docMk/>
            <pc:sldMk cId="2450384298" sldId="2252"/>
            <ac:spMk id="12" creationId="{A684FCFC-88BC-4AFA-9510-194A791B07A4}"/>
          </ac:spMkLst>
        </pc:spChg>
        <pc:spChg chg="add mod">
          <ac:chgData name="Aurelien Domont" userId="6da7715ce44349b3" providerId="LiveId" clId="{A0AC69FB-CC50-467D-9D7C-3ACB61EFF5A5}" dt="2021-09-26T22:16:42.465" v="6028" actId="571"/>
          <ac:spMkLst>
            <pc:docMk/>
            <pc:sldMk cId="2450384298" sldId="2252"/>
            <ac:spMk id="13" creationId="{C186D47E-0B32-4EA9-A287-37E60D59C8C1}"/>
          </ac:spMkLst>
        </pc:spChg>
        <pc:spChg chg="add mod">
          <ac:chgData name="Aurelien Domont" userId="6da7715ce44349b3" providerId="LiveId" clId="{A0AC69FB-CC50-467D-9D7C-3ACB61EFF5A5}" dt="2021-09-26T22:19:19.496" v="6089" actId="465"/>
          <ac:spMkLst>
            <pc:docMk/>
            <pc:sldMk cId="2450384298" sldId="2252"/>
            <ac:spMk id="14" creationId="{91395577-A7EE-414D-9C46-A83181CBD694}"/>
          </ac:spMkLst>
        </pc:spChg>
        <pc:spChg chg="add mod">
          <ac:chgData name="Aurelien Domont" userId="6da7715ce44349b3" providerId="LiveId" clId="{A0AC69FB-CC50-467D-9D7C-3ACB61EFF5A5}" dt="2021-09-26T22:19:23.928" v="6090" actId="465"/>
          <ac:spMkLst>
            <pc:docMk/>
            <pc:sldMk cId="2450384298" sldId="2252"/>
            <ac:spMk id="15" creationId="{D8876590-47DF-4F13-BD2B-0806D14869DE}"/>
          </ac:spMkLst>
        </pc:spChg>
        <pc:spChg chg="add mod">
          <ac:chgData name="Aurelien Domont" userId="6da7715ce44349b3" providerId="LiveId" clId="{A0AC69FB-CC50-467D-9D7C-3ACB61EFF5A5}" dt="2021-09-26T22:20:18.210" v="6109" actId="20577"/>
          <ac:spMkLst>
            <pc:docMk/>
            <pc:sldMk cId="2450384298" sldId="2252"/>
            <ac:spMk id="16" creationId="{560C50C9-2744-4F9E-B9BE-2505CB18ABF3}"/>
          </ac:spMkLst>
        </pc:spChg>
        <pc:spChg chg="add mod">
          <ac:chgData name="Aurelien Domont" userId="6da7715ce44349b3" providerId="LiveId" clId="{A0AC69FB-CC50-467D-9D7C-3ACB61EFF5A5}" dt="2021-09-26T22:22:34.449" v="6168"/>
          <ac:spMkLst>
            <pc:docMk/>
            <pc:sldMk cId="2450384298" sldId="2252"/>
            <ac:spMk id="17" creationId="{9CFE52E9-E381-4DA5-81E9-AE3823CC6ED3}"/>
          </ac:spMkLst>
        </pc:spChg>
        <pc:spChg chg="add mod">
          <ac:chgData name="Aurelien Domont" userId="6da7715ce44349b3" providerId="LiveId" clId="{A0AC69FB-CC50-467D-9D7C-3ACB61EFF5A5}" dt="2021-09-26T23:05:01.593" v="6540" actId="404"/>
          <ac:spMkLst>
            <pc:docMk/>
            <pc:sldMk cId="2450384298" sldId="2252"/>
            <ac:spMk id="18" creationId="{B2CD0468-8455-4905-ACEC-2E403AF2B7E6}"/>
          </ac:spMkLst>
        </pc:spChg>
      </pc:sldChg>
      <pc:sldChg chg="addSp delSp modSp mod">
        <pc:chgData name="Aurelien Domont" userId="6da7715ce44349b3" providerId="LiveId" clId="{A0AC69FB-CC50-467D-9D7C-3ACB61EFF5A5}" dt="2021-09-26T23:05:46.424" v="6577"/>
        <pc:sldMkLst>
          <pc:docMk/>
          <pc:sldMk cId="2165212503" sldId="2253"/>
        </pc:sldMkLst>
        <pc:spChg chg="mod">
          <ac:chgData name="Aurelien Domont" userId="6da7715ce44349b3" providerId="LiveId" clId="{A0AC69FB-CC50-467D-9D7C-3ACB61EFF5A5}" dt="2021-09-26T23:04:09.024" v="6514" actId="404"/>
          <ac:spMkLst>
            <pc:docMk/>
            <pc:sldMk cId="2165212503" sldId="2253"/>
            <ac:spMk id="2" creationId="{63F277BE-B192-4EBA-977A-D3854CBCD4C8}"/>
          </ac:spMkLst>
        </pc:spChg>
        <pc:spChg chg="mod">
          <ac:chgData name="Aurelien Domont" userId="6da7715ce44349b3" providerId="LiveId" clId="{A0AC69FB-CC50-467D-9D7C-3ACB61EFF5A5}" dt="2021-09-26T22:56:30.332" v="6175" actId="14100"/>
          <ac:spMkLst>
            <pc:docMk/>
            <pc:sldMk cId="2165212503" sldId="2253"/>
            <ac:spMk id="3" creationId="{6BE1B6B4-87AF-4A0F-9A81-38B388B86D24}"/>
          </ac:spMkLst>
        </pc:spChg>
        <pc:spChg chg="add mod">
          <ac:chgData name="Aurelien Domont" userId="6da7715ce44349b3" providerId="LiveId" clId="{A0AC69FB-CC50-467D-9D7C-3ACB61EFF5A5}" dt="2021-09-26T22:58:55.479" v="6221" actId="1076"/>
          <ac:spMkLst>
            <pc:docMk/>
            <pc:sldMk cId="2165212503" sldId="2253"/>
            <ac:spMk id="14" creationId="{C569BF5D-FB64-4E7D-84D3-453A6417DD61}"/>
          </ac:spMkLst>
        </pc:spChg>
        <pc:spChg chg="add mod">
          <ac:chgData name="Aurelien Domont" userId="6da7715ce44349b3" providerId="LiveId" clId="{A0AC69FB-CC50-467D-9D7C-3ACB61EFF5A5}" dt="2021-09-26T22:59:02.572" v="6239" actId="20577"/>
          <ac:spMkLst>
            <pc:docMk/>
            <pc:sldMk cId="2165212503" sldId="2253"/>
            <ac:spMk id="15" creationId="{12058181-248B-477E-A50D-FC0EE7A82E5C}"/>
          </ac:spMkLst>
        </pc:spChg>
        <pc:spChg chg="add mod">
          <ac:chgData name="Aurelien Domont" userId="6da7715ce44349b3" providerId="LiveId" clId="{A0AC69FB-CC50-467D-9D7C-3ACB61EFF5A5}" dt="2021-09-26T22:59:21.899" v="6241" actId="571"/>
          <ac:spMkLst>
            <pc:docMk/>
            <pc:sldMk cId="2165212503" sldId="2253"/>
            <ac:spMk id="16" creationId="{CC437061-AA46-4454-BF46-ACA1F76EA181}"/>
          </ac:spMkLst>
        </pc:spChg>
        <pc:spChg chg="add mod">
          <ac:chgData name="Aurelien Domont" userId="6da7715ce44349b3" providerId="LiveId" clId="{A0AC69FB-CC50-467D-9D7C-3ACB61EFF5A5}" dt="2021-09-26T23:02:47.669" v="6502" actId="108"/>
          <ac:spMkLst>
            <pc:docMk/>
            <pc:sldMk cId="2165212503" sldId="2253"/>
            <ac:spMk id="17" creationId="{946E4F32-4BF9-433F-9E16-4D78B10CC152}"/>
          </ac:spMkLst>
        </pc:spChg>
        <pc:spChg chg="add mod">
          <ac:chgData name="Aurelien Domont" userId="6da7715ce44349b3" providerId="LiveId" clId="{A0AC69FB-CC50-467D-9D7C-3ACB61EFF5A5}" dt="2021-09-26T23:02:32.556" v="6501" actId="20577"/>
          <ac:spMkLst>
            <pc:docMk/>
            <pc:sldMk cId="2165212503" sldId="2253"/>
            <ac:spMk id="18" creationId="{0D0E486E-6BC1-4733-BF3F-0F3E042A083F}"/>
          </ac:spMkLst>
        </pc:spChg>
        <pc:spChg chg="add mod">
          <ac:chgData name="Aurelien Domont" userId="6da7715ce44349b3" providerId="LiveId" clId="{A0AC69FB-CC50-467D-9D7C-3ACB61EFF5A5}" dt="2021-09-26T23:01:36.991" v="6441" actId="207"/>
          <ac:spMkLst>
            <pc:docMk/>
            <pc:sldMk cId="2165212503" sldId="2253"/>
            <ac:spMk id="19" creationId="{30846F37-1133-4905-88FD-215C2A0F1A79}"/>
          </ac:spMkLst>
        </pc:spChg>
        <pc:spChg chg="add mod">
          <ac:chgData name="Aurelien Domont" userId="6da7715ce44349b3" providerId="LiveId" clId="{A0AC69FB-CC50-467D-9D7C-3ACB61EFF5A5}" dt="2021-09-26T23:05:46.424" v="6577"/>
          <ac:spMkLst>
            <pc:docMk/>
            <pc:sldMk cId="2165212503" sldId="2253"/>
            <ac:spMk id="20" creationId="{A7332DE3-F0FA-4A90-BA1A-FA5487A39E9D}"/>
          </ac:spMkLst>
        </pc:spChg>
        <pc:picChg chg="add mod">
          <ac:chgData name="Aurelien Domont" userId="6da7715ce44349b3" providerId="LiveId" clId="{A0AC69FB-CC50-467D-9D7C-3ACB61EFF5A5}" dt="2021-09-26T22:58:38.347" v="6208" actId="1076"/>
          <ac:picMkLst>
            <pc:docMk/>
            <pc:sldMk cId="2165212503" sldId="2253"/>
            <ac:picMk id="5" creationId="{1FF46138-EDF8-46E9-8269-CAD8B53844E1}"/>
          </ac:picMkLst>
        </pc:picChg>
        <pc:picChg chg="add mod">
          <ac:chgData name="Aurelien Domont" userId="6da7715ce44349b3" providerId="LiveId" clId="{A0AC69FB-CC50-467D-9D7C-3ACB61EFF5A5}" dt="2021-09-26T22:58:38.347" v="6208" actId="1076"/>
          <ac:picMkLst>
            <pc:docMk/>
            <pc:sldMk cId="2165212503" sldId="2253"/>
            <ac:picMk id="9" creationId="{E5A3DF7C-3698-4A06-93C9-94AB80F84062}"/>
          </ac:picMkLst>
        </pc:picChg>
        <pc:picChg chg="add del mod">
          <ac:chgData name="Aurelien Domont" userId="6da7715ce44349b3" providerId="LiveId" clId="{A0AC69FB-CC50-467D-9D7C-3ACB61EFF5A5}" dt="2021-09-26T22:58:03.305" v="6193" actId="478"/>
          <ac:picMkLst>
            <pc:docMk/>
            <pc:sldMk cId="2165212503" sldId="2253"/>
            <ac:picMk id="11" creationId="{D7CB9304-47EF-4822-A8CD-E53AD9D3E4EF}"/>
          </ac:picMkLst>
        </pc:picChg>
        <pc:cxnChg chg="add mod">
          <ac:chgData name="Aurelien Domont" userId="6da7715ce44349b3" providerId="LiveId" clId="{A0AC69FB-CC50-467D-9D7C-3ACB61EFF5A5}" dt="2021-09-26T22:58:38.347" v="6208" actId="1076"/>
          <ac:cxnSpMkLst>
            <pc:docMk/>
            <pc:sldMk cId="2165212503" sldId="2253"/>
            <ac:cxnSpMk id="7" creationId="{B0685C61-C4F3-44E5-A79B-6ABAA7A9F649}"/>
          </ac:cxnSpMkLst>
        </pc:cxnChg>
      </pc:sldChg>
      <pc:sldChg chg="addSp delSp modSp add mod">
        <pc:chgData name="Aurelien Domont" userId="6da7715ce44349b3" providerId="LiveId" clId="{A0AC69FB-CC50-467D-9D7C-3ACB61EFF5A5}" dt="2021-09-24T07:10:29.604" v="5288" actId="404"/>
        <pc:sldMkLst>
          <pc:docMk/>
          <pc:sldMk cId="3563606058" sldId="2254"/>
        </pc:sldMkLst>
        <pc:spChg chg="mod">
          <ac:chgData name="Aurelien Domont" userId="6da7715ce44349b3" providerId="LiveId" clId="{A0AC69FB-CC50-467D-9D7C-3ACB61EFF5A5}" dt="2021-09-24T07:10:29.604" v="5288" actId="404"/>
          <ac:spMkLst>
            <pc:docMk/>
            <pc:sldMk cId="3563606058" sldId="2254"/>
            <ac:spMk id="2" creationId="{63F277BE-B192-4EBA-977A-D3854CBCD4C8}"/>
          </ac:spMkLst>
        </pc:spChg>
        <pc:spChg chg="del">
          <ac:chgData name="Aurelien Domont" userId="6da7715ce44349b3" providerId="LiveId" clId="{A0AC69FB-CC50-467D-9D7C-3ACB61EFF5A5}" dt="2021-09-24T05:38:56.239" v="2499" actId="478"/>
          <ac:spMkLst>
            <pc:docMk/>
            <pc:sldMk cId="3563606058" sldId="2254"/>
            <ac:spMk id="3" creationId="{6BE1B6B4-87AF-4A0F-9A81-38B388B86D24}"/>
          </ac:spMkLst>
        </pc:spChg>
        <pc:spChg chg="del">
          <ac:chgData name="Aurelien Domont" userId="6da7715ce44349b3" providerId="LiveId" clId="{A0AC69FB-CC50-467D-9D7C-3ACB61EFF5A5}" dt="2021-09-24T05:39:05.441" v="2501" actId="478"/>
          <ac:spMkLst>
            <pc:docMk/>
            <pc:sldMk cId="3563606058" sldId="2254"/>
            <ac:spMk id="5" creationId="{6C572F2B-C91D-48DB-AA98-3A5E2A876E7E}"/>
          </ac:spMkLst>
        </pc:spChg>
        <pc:spChg chg="add del mod">
          <ac:chgData name="Aurelien Domont" userId="6da7715ce44349b3" providerId="LiveId" clId="{A0AC69FB-CC50-467D-9D7C-3ACB61EFF5A5}" dt="2021-09-24T05:38:59.839" v="2500" actId="478"/>
          <ac:spMkLst>
            <pc:docMk/>
            <pc:sldMk cId="3563606058" sldId="2254"/>
            <ac:spMk id="7" creationId="{D5EC7C57-844E-4E80-A0F0-6B5D31B9BEE3}"/>
          </ac:spMkLst>
        </pc:spChg>
        <pc:spChg chg="add mod">
          <ac:chgData name="Aurelien Domont" userId="6da7715ce44349b3" providerId="LiveId" clId="{A0AC69FB-CC50-467D-9D7C-3ACB61EFF5A5}" dt="2021-09-24T05:58:07.167" v="3746" actId="115"/>
          <ac:spMkLst>
            <pc:docMk/>
            <pc:sldMk cId="3563606058" sldId="2254"/>
            <ac:spMk id="8" creationId="{DC74F9C9-AEDA-40E4-9404-3504FA186796}"/>
          </ac:spMkLst>
        </pc:spChg>
        <pc:spChg chg="add mod">
          <ac:chgData name="Aurelien Domont" userId="6da7715ce44349b3" providerId="LiveId" clId="{A0AC69FB-CC50-467D-9D7C-3ACB61EFF5A5}" dt="2021-09-24T05:45:46.394" v="2790" actId="404"/>
          <ac:spMkLst>
            <pc:docMk/>
            <pc:sldMk cId="3563606058" sldId="2254"/>
            <ac:spMk id="9" creationId="{3513174C-ED2B-4645-AA24-5CF769437560}"/>
          </ac:spMkLst>
        </pc:spChg>
        <pc:spChg chg="add del mod">
          <ac:chgData name="Aurelien Domont" userId="6da7715ce44349b3" providerId="LiveId" clId="{A0AC69FB-CC50-467D-9D7C-3ACB61EFF5A5}" dt="2021-09-24T05:43:33.028" v="2628" actId="478"/>
          <ac:spMkLst>
            <pc:docMk/>
            <pc:sldMk cId="3563606058" sldId="2254"/>
            <ac:spMk id="10" creationId="{36AC42F2-97CF-4483-ADDC-C0A7D130A2A1}"/>
          </ac:spMkLst>
        </pc:spChg>
        <pc:spChg chg="add del mod">
          <ac:chgData name="Aurelien Domont" userId="6da7715ce44349b3" providerId="LiveId" clId="{A0AC69FB-CC50-467D-9D7C-3ACB61EFF5A5}" dt="2021-09-24T05:43:33.028" v="2628" actId="478"/>
          <ac:spMkLst>
            <pc:docMk/>
            <pc:sldMk cId="3563606058" sldId="2254"/>
            <ac:spMk id="11" creationId="{FEC11B3C-1977-4F24-83D0-AFD6A5403180}"/>
          </ac:spMkLst>
        </pc:spChg>
        <pc:spChg chg="add del mod">
          <ac:chgData name="Aurelien Domont" userId="6da7715ce44349b3" providerId="LiveId" clId="{A0AC69FB-CC50-467D-9D7C-3ACB61EFF5A5}" dt="2021-09-24T05:43:33.028" v="2628" actId="478"/>
          <ac:spMkLst>
            <pc:docMk/>
            <pc:sldMk cId="3563606058" sldId="2254"/>
            <ac:spMk id="12" creationId="{E8414BAB-1080-420D-A84D-52B5A813C926}"/>
          </ac:spMkLst>
        </pc:spChg>
        <pc:spChg chg="add mod">
          <ac:chgData name="Aurelien Domont" userId="6da7715ce44349b3" providerId="LiveId" clId="{A0AC69FB-CC50-467D-9D7C-3ACB61EFF5A5}" dt="2021-09-24T05:52:38.206" v="3277" actId="20577"/>
          <ac:spMkLst>
            <pc:docMk/>
            <pc:sldMk cId="3563606058" sldId="2254"/>
            <ac:spMk id="13" creationId="{A699B3C4-BC44-4F6A-84D8-22C974BF1F8E}"/>
          </ac:spMkLst>
        </pc:spChg>
        <pc:spChg chg="add mod">
          <ac:chgData name="Aurelien Domont" userId="6da7715ce44349b3" providerId="LiveId" clId="{A0AC69FB-CC50-467D-9D7C-3ACB61EFF5A5}" dt="2021-09-24T05:52:34.858" v="3272" actId="20577"/>
          <ac:spMkLst>
            <pc:docMk/>
            <pc:sldMk cId="3563606058" sldId="2254"/>
            <ac:spMk id="14" creationId="{F172091E-6D53-4C04-A93C-794E1CCEB2B1}"/>
          </ac:spMkLst>
        </pc:spChg>
        <pc:spChg chg="add mod">
          <ac:chgData name="Aurelien Domont" userId="6da7715ce44349b3" providerId="LiveId" clId="{A0AC69FB-CC50-467D-9D7C-3ACB61EFF5A5}" dt="2021-09-24T05:55:39.489" v="3532" actId="108"/>
          <ac:spMkLst>
            <pc:docMk/>
            <pc:sldMk cId="3563606058" sldId="2254"/>
            <ac:spMk id="15" creationId="{A8E24B1A-C570-44F8-A105-BB99B8E02701}"/>
          </ac:spMkLst>
        </pc:spChg>
        <pc:spChg chg="add mod">
          <ac:chgData name="Aurelien Domont" userId="6da7715ce44349b3" providerId="LiveId" clId="{A0AC69FB-CC50-467D-9D7C-3ACB61EFF5A5}" dt="2021-09-24T05:55:33.164" v="3530" actId="108"/>
          <ac:spMkLst>
            <pc:docMk/>
            <pc:sldMk cId="3563606058" sldId="2254"/>
            <ac:spMk id="16" creationId="{D06F16EA-721D-4505-B504-1940D31650CA}"/>
          </ac:spMkLst>
        </pc:spChg>
        <pc:spChg chg="add mod">
          <ac:chgData name="Aurelien Domont" userId="6da7715ce44349b3" providerId="LiveId" clId="{A0AC69FB-CC50-467D-9D7C-3ACB61EFF5A5}" dt="2021-09-24T05:55:37.178" v="3531" actId="108"/>
          <ac:spMkLst>
            <pc:docMk/>
            <pc:sldMk cId="3563606058" sldId="2254"/>
            <ac:spMk id="17" creationId="{1D7D95DF-C13D-4104-9EBB-08F65A182694}"/>
          </ac:spMkLst>
        </pc:spChg>
        <pc:spChg chg="add mod">
          <ac:chgData name="Aurelien Domont" userId="6da7715ce44349b3" providerId="LiveId" clId="{A0AC69FB-CC50-467D-9D7C-3ACB61EFF5A5}" dt="2021-09-24T05:57:51.820" v="3745" actId="20577"/>
          <ac:spMkLst>
            <pc:docMk/>
            <pc:sldMk cId="3563606058" sldId="2254"/>
            <ac:spMk id="18" creationId="{DBDC6177-EF65-4C0F-89D8-232DE11D358A}"/>
          </ac:spMkLst>
        </pc:spChg>
        <pc:spChg chg="add mod">
          <ac:chgData name="Aurelien Domont" userId="6da7715ce44349b3" providerId="LiveId" clId="{A0AC69FB-CC50-467D-9D7C-3ACB61EFF5A5}" dt="2021-09-24T05:45:58.558" v="2801" actId="1036"/>
          <ac:spMkLst>
            <pc:docMk/>
            <pc:sldMk cId="3563606058" sldId="2254"/>
            <ac:spMk id="19" creationId="{D5F0FE6B-18ED-4EA6-BC22-27860DE222A5}"/>
          </ac:spMkLst>
        </pc:spChg>
      </pc:sldChg>
      <pc:sldChg chg="modSp add mod">
        <pc:chgData name="Aurelien Domont" userId="6da7715ce44349b3" providerId="LiveId" clId="{A0AC69FB-CC50-467D-9D7C-3ACB61EFF5A5}" dt="2021-09-24T07:10:32.547" v="5289" actId="404"/>
        <pc:sldMkLst>
          <pc:docMk/>
          <pc:sldMk cId="1126942315" sldId="2255"/>
        </pc:sldMkLst>
        <pc:spChg chg="mod">
          <ac:chgData name="Aurelien Domont" userId="6da7715ce44349b3" providerId="LiveId" clId="{A0AC69FB-CC50-467D-9D7C-3ACB61EFF5A5}" dt="2021-09-24T07:10:32.547" v="5289" actId="404"/>
          <ac:spMkLst>
            <pc:docMk/>
            <pc:sldMk cId="1126942315" sldId="2255"/>
            <ac:spMk id="2" creationId="{63F277BE-B192-4EBA-977A-D3854CBCD4C8}"/>
          </ac:spMkLst>
        </pc:spChg>
        <pc:spChg chg="mod">
          <ac:chgData name="Aurelien Domont" userId="6da7715ce44349b3" providerId="LiveId" clId="{A0AC69FB-CC50-467D-9D7C-3ACB61EFF5A5}" dt="2021-09-24T05:58:20.351" v="3754" actId="20577"/>
          <ac:spMkLst>
            <pc:docMk/>
            <pc:sldMk cId="1126942315" sldId="2255"/>
            <ac:spMk id="8" creationId="{DC74F9C9-AEDA-40E4-9404-3504FA186796}"/>
          </ac:spMkLst>
        </pc:spChg>
        <pc:spChg chg="mod">
          <ac:chgData name="Aurelien Domont" userId="6da7715ce44349b3" providerId="LiveId" clId="{A0AC69FB-CC50-467D-9D7C-3ACB61EFF5A5}" dt="2021-09-24T06:02:35.944" v="4173" actId="20577"/>
          <ac:spMkLst>
            <pc:docMk/>
            <pc:sldMk cId="1126942315" sldId="2255"/>
            <ac:spMk id="15" creationId="{A8E24B1A-C570-44F8-A105-BB99B8E02701}"/>
          </ac:spMkLst>
        </pc:spChg>
        <pc:spChg chg="mod">
          <ac:chgData name="Aurelien Domont" userId="6da7715ce44349b3" providerId="LiveId" clId="{A0AC69FB-CC50-467D-9D7C-3ACB61EFF5A5}" dt="2021-09-24T06:07:38.150" v="4611" actId="20577"/>
          <ac:spMkLst>
            <pc:docMk/>
            <pc:sldMk cId="1126942315" sldId="2255"/>
            <ac:spMk id="16" creationId="{D06F16EA-721D-4505-B504-1940D31650CA}"/>
          </ac:spMkLst>
        </pc:spChg>
        <pc:spChg chg="mod">
          <ac:chgData name="Aurelien Domont" userId="6da7715ce44349b3" providerId="LiveId" clId="{A0AC69FB-CC50-467D-9D7C-3ACB61EFF5A5}" dt="2021-09-24T06:04:36.684" v="4326" actId="20577"/>
          <ac:spMkLst>
            <pc:docMk/>
            <pc:sldMk cId="1126942315" sldId="2255"/>
            <ac:spMk id="17" creationId="{1D7D95DF-C13D-4104-9EBB-08F65A182694}"/>
          </ac:spMkLst>
        </pc:spChg>
        <pc:spChg chg="mod">
          <ac:chgData name="Aurelien Domont" userId="6da7715ce44349b3" providerId="LiveId" clId="{A0AC69FB-CC50-467D-9D7C-3ACB61EFF5A5}" dt="2021-09-24T06:11:16.171" v="4951" actId="20577"/>
          <ac:spMkLst>
            <pc:docMk/>
            <pc:sldMk cId="1126942315" sldId="2255"/>
            <ac:spMk id="18" creationId="{DBDC6177-EF65-4C0F-89D8-232DE11D358A}"/>
          </ac:spMkLst>
        </pc:spChg>
      </pc:sldChg>
      <pc:sldChg chg="addSp delSp modSp add mod">
        <pc:chgData name="Aurelien Domont" userId="6da7715ce44349b3" providerId="LiveId" clId="{A0AC69FB-CC50-467D-9D7C-3ACB61EFF5A5}" dt="2021-09-24T07:10:35.983" v="5290" actId="404"/>
        <pc:sldMkLst>
          <pc:docMk/>
          <pc:sldMk cId="3441055084" sldId="2256"/>
        </pc:sldMkLst>
        <pc:spChg chg="mod">
          <ac:chgData name="Aurelien Domont" userId="6da7715ce44349b3" providerId="LiveId" clId="{A0AC69FB-CC50-467D-9D7C-3ACB61EFF5A5}" dt="2021-09-24T07:10:35.983" v="5290" actId="404"/>
          <ac:spMkLst>
            <pc:docMk/>
            <pc:sldMk cId="3441055084" sldId="2256"/>
            <ac:spMk id="2" creationId="{63F277BE-B192-4EBA-977A-D3854CBCD4C8}"/>
          </ac:spMkLst>
        </pc:spChg>
        <pc:spChg chg="add mod">
          <ac:chgData name="Aurelien Domont" userId="6da7715ce44349b3" providerId="LiveId" clId="{A0AC69FB-CC50-467D-9D7C-3ACB61EFF5A5}" dt="2021-09-24T07:05:19.457" v="5262" actId="20577"/>
          <ac:spMkLst>
            <pc:docMk/>
            <pc:sldMk cId="3441055084" sldId="2256"/>
            <ac:spMk id="3" creationId="{6DEF2CCE-9A39-4032-833C-D69732163F23}"/>
          </ac:spMkLst>
        </pc:spChg>
        <pc:spChg chg="del">
          <ac:chgData name="Aurelien Domont" userId="6da7715ce44349b3" providerId="LiveId" clId="{A0AC69FB-CC50-467D-9D7C-3ACB61EFF5A5}" dt="2021-09-24T06:13:39.680" v="5001" actId="478"/>
          <ac:spMkLst>
            <pc:docMk/>
            <pc:sldMk cId="3441055084" sldId="2256"/>
            <ac:spMk id="8" creationId="{DC74F9C9-AEDA-40E4-9404-3504FA186796}"/>
          </ac:spMkLst>
        </pc:spChg>
        <pc:spChg chg="del">
          <ac:chgData name="Aurelien Domont" userId="6da7715ce44349b3" providerId="LiveId" clId="{A0AC69FB-CC50-467D-9D7C-3ACB61EFF5A5}" dt="2021-09-24T06:13:39.680" v="5001" actId="478"/>
          <ac:spMkLst>
            <pc:docMk/>
            <pc:sldMk cId="3441055084" sldId="2256"/>
            <ac:spMk id="9" creationId="{3513174C-ED2B-4645-AA24-5CF769437560}"/>
          </ac:spMkLst>
        </pc:spChg>
        <pc:spChg chg="del">
          <ac:chgData name="Aurelien Domont" userId="6da7715ce44349b3" providerId="LiveId" clId="{A0AC69FB-CC50-467D-9D7C-3ACB61EFF5A5}" dt="2021-09-24T06:13:39.680" v="5001" actId="478"/>
          <ac:spMkLst>
            <pc:docMk/>
            <pc:sldMk cId="3441055084" sldId="2256"/>
            <ac:spMk id="13" creationId="{A699B3C4-BC44-4F6A-84D8-22C974BF1F8E}"/>
          </ac:spMkLst>
        </pc:spChg>
        <pc:spChg chg="del">
          <ac:chgData name="Aurelien Domont" userId="6da7715ce44349b3" providerId="LiveId" clId="{A0AC69FB-CC50-467D-9D7C-3ACB61EFF5A5}" dt="2021-09-24T06:13:39.680" v="5001" actId="478"/>
          <ac:spMkLst>
            <pc:docMk/>
            <pc:sldMk cId="3441055084" sldId="2256"/>
            <ac:spMk id="14" creationId="{F172091E-6D53-4C04-A93C-794E1CCEB2B1}"/>
          </ac:spMkLst>
        </pc:spChg>
        <pc:spChg chg="del">
          <ac:chgData name="Aurelien Domont" userId="6da7715ce44349b3" providerId="LiveId" clId="{A0AC69FB-CC50-467D-9D7C-3ACB61EFF5A5}" dt="2021-09-24T06:13:39.680" v="5001" actId="478"/>
          <ac:spMkLst>
            <pc:docMk/>
            <pc:sldMk cId="3441055084" sldId="2256"/>
            <ac:spMk id="15" creationId="{A8E24B1A-C570-44F8-A105-BB99B8E02701}"/>
          </ac:spMkLst>
        </pc:spChg>
        <pc:spChg chg="del">
          <ac:chgData name="Aurelien Domont" userId="6da7715ce44349b3" providerId="LiveId" clId="{A0AC69FB-CC50-467D-9D7C-3ACB61EFF5A5}" dt="2021-09-24T06:13:39.680" v="5001" actId="478"/>
          <ac:spMkLst>
            <pc:docMk/>
            <pc:sldMk cId="3441055084" sldId="2256"/>
            <ac:spMk id="16" creationId="{D06F16EA-721D-4505-B504-1940D31650CA}"/>
          </ac:spMkLst>
        </pc:spChg>
        <pc:spChg chg="del">
          <ac:chgData name="Aurelien Domont" userId="6da7715ce44349b3" providerId="LiveId" clId="{A0AC69FB-CC50-467D-9D7C-3ACB61EFF5A5}" dt="2021-09-24T06:13:39.680" v="5001" actId="478"/>
          <ac:spMkLst>
            <pc:docMk/>
            <pc:sldMk cId="3441055084" sldId="2256"/>
            <ac:spMk id="17" creationId="{1D7D95DF-C13D-4104-9EBB-08F65A182694}"/>
          </ac:spMkLst>
        </pc:spChg>
        <pc:spChg chg="del">
          <ac:chgData name="Aurelien Domont" userId="6da7715ce44349b3" providerId="LiveId" clId="{A0AC69FB-CC50-467D-9D7C-3ACB61EFF5A5}" dt="2021-09-24T06:13:39.680" v="5001" actId="478"/>
          <ac:spMkLst>
            <pc:docMk/>
            <pc:sldMk cId="3441055084" sldId="2256"/>
            <ac:spMk id="18" creationId="{DBDC6177-EF65-4C0F-89D8-232DE11D358A}"/>
          </ac:spMkLst>
        </pc:spChg>
        <pc:spChg chg="del">
          <ac:chgData name="Aurelien Domont" userId="6da7715ce44349b3" providerId="LiveId" clId="{A0AC69FB-CC50-467D-9D7C-3ACB61EFF5A5}" dt="2021-09-24T06:13:39.680" v="5001" actId="478"/>
          <ac:spMkLst>
            <pc:docMk/>
            <pc:sldMk cId="3441055084" sldId="2256"/>
            <ac:spMk id="19" creationId="{D5F0FE6B-18ED-4EA6-BC22-27860DE222A5}"/>
          </ac:spMkLst>
        </pc:spChg>
      </pc:sldChg>
      <pc:sldChg chg="addSp delSp modSp add mod">
        <pc:chgData name="Aurelien Domont" userId="6da7715ce44349b3" providerId="LiveId" clId="{A0AC69FB-CC50-467D-9D7C-3ACB61EFF5A5}" dt="2021-09-24T07:31:40.031" v="5597" actId="478"/>
        <pc:sldMkLst>
          <pc:docMk/>
          <pc:sldMk cId="1859429594" sldId="2257"/>
        </pc:sldMkLst>
        <pc:spChg chg="mod">
          <ac:chgData name="Aurelien Domont" userId="6da7715ce44349b3" providerId="LiveId" clId="{A0AC69FB-CC50-467D-9D7C-3ACB61EFF5A5}" dt="2021-09-24T07:10:40.079" v="5291" actId="404"/>
          <ac:spMkLst>
            <pc:docMk/>
            <pc:sldMk cId="1859429594" sldId="2257"/>
            <ac:spMk id="2" creationId="{63F277BE-B192-4EBA-977A-D3854CBCD4C8}"/>
          </ac:spMkLst>
        </pc:spChg>
        <pc:spChg chg="mod">
          <ac:chgData name="Aurelien Domont" userId="6da7715ce44349b3" providerId="LiveId" clId="{A0AC69FB-CC50-467D-9D7C-3ACB61EFF5A5}" dt="2021-09-24T07:19:04.128" v="5481" actId="20577"/>
          <ac:spMkLst>
            <pc:docMk/>
            <pc:sldMk cId="1859429594" sldId="2257"/>
            <ac:spMk id="3" creationId="{6DEF2CCE-9A39-4032-833C-D69732163F23}"/>
          </ac:spMkLst>
        </pc:spChg>
        <pc:spChg chg="add mod">
          <ac:chgData name="Aurelien Domont" userId="6da7715ce44349b3" providerId="LiveId" clId="{A0AC69FB-CC50-467D-9D7C-3ACB61EFF5A5}" dt="2021-09-24T07:30:00.751" v="5532" actId="14100"/>
          <ac:spMkLst>
            <pc:docMk/>
            <pc:sldMk cId="1859429594" sldId="2257"/>
            <ac:spMk id="5" creationId="{62E92608-F890-40B3-937F-3E16A767658D}"/>
          </ac:spMkLst>
        </pc:spChg>
        <pc:spChg chg="add del mod">
          <ac:chgData name="Aurelien Domont" userId="6da7715ce44349b3" providerId="LiveId" clId="{A0AC69FB-CC50-467D-9D7C-3ACB61EFF5A5}" dt="2021-09-24T07:14:42.190" v="5365" actId="478"/>
          <ac:spMkLst>
            <pc:docMk/>
            <pc:sldMk cId="1859429594" sldId="2257"/>
            <ac:spMk id="6" creationId="{F7B315D0-E8C3-47B7-AB5C-1459AF70F4EE}"/>
          </ac:spMkLst>
        </pc:spChg>
        <pc:spChg chg="add del mod">
          <ac:chgData name="Aurelien Domont" userId="6da7715ce44349b3" providerId="LiveId" clId="{A0AC69FB-CC50-467D-9D7C-3ACB61EFF5A5}" dt="2021-09-24T07:29:46.967" v="5528" actId="478"/>
          <ac:spMkLst>
            <pc:docMk/>
            <pc:sldMk cId="1859429594" sldId="2257"/>
            <ac:spMk id="7" creationId="{3BCD3929-9188-4DF9-83C7-438FFBC5A34E}"/>
          </ac:spMkLst>
        </pc:spChg>
        <pc:spChg chg="add del mod">
          <ac:chgData name="Aurelien Domont" userId="6da7715ce44349b3" providerId="LiveId" clId="{A0AC69FB-CC50-467D-9D7C-3ACB61EFF5A5}" dt="2021-09-24T07:30:19.747" v="5559" actId="478"/>
          <ac:spMkLst>
            <pc:docMk/>
            <pc:sldMk cId="1859429594" sldId="2257"/>
            <ac:spMk id="8" creationId="{6B39EDFE-21EA-4312-AD87-4619488F8946}"/>
          </ac:spMkLst>
        </pc:spChg>
        <pc:spChg chg="add del mod">
          <ac:chgData name="Aurelien Domont" userId="6da7715ce44349b3" providerId="LiveId" clId="{A0AC69FB-CC50-467D-9D7C-3ACB61EFF5A5}" dt="2021-09-24T07:29:46.967" v="5528" actId="478"/>
          <ac:spMkLst>
            <pc:docMk/>
            <pc:sldMk cId="1859429594" sldId="2257"/>
            <ac:spMk id="9" creationId="{88CBDA29-89C1-466A-8FC7-635F9A426F2A}"/>
          </ac:spMkLst>
        </pc:spChg>
        <pc:spChg chg="add del mod">
          <ac:chgData name="Aurelien Domont" userId="6da7715ce44349b3" providerId="LiveId" clId="{A0AC69FB-CC50-467D-9D7C-3ACB61EFF5A5}" dt="2021-09-24T07:20:15.275" v="5497" actId="478"/>
          <ac:spMkLst>
            <pc:docMk/>
            <pc:sldMk cId="1859429594" sldId="2257"/>
            <ac:spMk id="10" creationId="{E6DCD867-DD47-4A3C-AE5B-2D7055A8DD55}"/>
          </ac:spMkLst>
        </pc:spChg>
        <pc:spChg chg="add del mod">
          <ac:chgData name="Aurelien Domont" userId="6da7715ce44349b3" providerId="LiveId" clId="{A0AC69FB-CC50-467D-9D7C-3ACB61EFF5A5}" dt="2021-09-24T07:20:15.275" v="5497" actId="478"/>
          <ac:spMkLst>
            <pc:docMk/>
            <pc:sldMk cId="1859429594" sldId="2257"/>
            <ac:spMk id="11" creationId="{421B237A-D83E-40E8-97D7-D1BFABF6FD58}"/>
          </ac:spMkLst>
        </pc:spChg>
        <pc:spChg chg="add del mod">
          <ac:chgData name="Aurelien Domont" userId="6da7715ce44349b3" providerId="LiveId" clId="{A0AC69FB-CC50-467D-9D7C-3ACB61EFF5A5}" dt="2021-09-24T07:20:12.080" v="5496" actId="478"/>
          <ac:spMkLst>
            <pc:docMk/>
            <pc:sldMk cId="1859429594" sldId="2257"/>
            <ac:spMk id="12" creationId="{C872FDED-B0AC-439C-9047-734404679050}"/>
          </ac:spMkLst>
        </pc:spChg>
        <pc:spChg chg="add del mod">
          <ac:chgData name="Aurelien Domont" userId="6da7715ce44349b3" providerId="LiveId" clId="{A0AC69FB-CC50-467D-9D7C-3ACB61EFF5A5}" dt="2021-09-24T07:20:12.080" v="5496" actId="478"/>
          <ac:spMkLst>
            <pc:docMk/>
            <pc:sldMk cId="1859429594" sldId="2257"/>
            <ac:spMk id="13" creationId="{007C77D9-0D24-4156-AD0B-AC682E16D7BE}"/>
          </ac:spMkLst>
        </pc:spChg>
        <pc:spChg chg="add del mod">
          <ac:chgData name="Aurelien Domont" userId="6da7715ce44349b3" providerId="LiveId" clId="{A0AC69FB-CC50-467D-9D7C-3ACB61EFF5A5}" dt="2021-09-24T07:30:20.745" v="5560" actId="478"/>
          <ac:spMkLst>
            <pc:docMk/>
            <pc:sldMk cId="1859429594" sldId="2257"/>
            <ac:spMk id="14" creationId="{6B038E51-9203-414D-99CD-2E90C1CB682F}"/>
          </ac:spMkLst>
        </pc:spChg>
        <pc:spChg chg="add del mod">
          <ac:chgData name="Aurelien Domont" userId="6da7715ce44349b3" providerId="LiveId" clId="{A0AC69FB-CC50-467D-9D7C-3ACB61EFF5A5}" dt="2021-09-24T07:29:46.967" v="5528" actId="478"/>
          <ac:spMkLst>
            <pc:docMk/>
            <pc:sldMk cId="1859429594" sldId="2257"/>
            <ac:spMk id="15" creationId="{4FCF4818-D58F-45B2-89DA-DA23CF739174}"/>
          </ac:spMkLst>
        </pc:spChg>
        <pc:spChg chg="add mod">
          <ac:chgData name="Aurelien Domont" userId="6da7715ce44349b3" providerId="LiveId" clId="{A0AC69FB-CC50-467D-9D7C-3ACB61EFF5A5}" dt="2021-09-24T07:31:07.197" v="5592" actId="20577"/>
          <ac:spMkLst>
            <pc:docMk/>
            <pc:sldMk cId="1859429594" sldId="2257"/>
            <ac:spMk id="16" creationId="{640354B0-CA8B-49DF-AC6F-96F8E9EE30FE}"/>
          </ac:spMkLst>
        </pc:spChg>
        <pc:spChg chg="add mod">
          <ac:chgData name="Aurelien Domont" userId="6da7715ce44349b3" providerId="LiveId" clId="{A0AC69FB-CC50-467D-9D7C-3ACB61EFF5A5}" dt="2021-09-24T07:31:02.650" v="5591" actId="20577"/>
          <ac:spMkLst>
            <pc:docMk/>
            <pc:sldMk cId="1859429594" sldId="2257"/>
            <ac:spMk id="17" creationId="{4F9AE484-6186-4692-8815-05F79EA8F026}"/>
          </ac:spMkLst>
        </pc:spChg>
        <pc:spChg chg="add del mod">
          <ac:chgData name="Aurelien Domont" userId="6da7715ce44349b3" providerId="LiveId" clId="{A0AC69FB-CC50-467D-9D7C-3ACB61EFF5A5}" dt="2021-09-24T07:31:21.499" v="5594" actId="478"/>
          <ac:spMkLst>
            <pc:docMk/>
            <pc:sldMk cId="1859429594" sldId="2257"/>
            <ac:spMk id="18" creationId="{D48D8122-452D-4D64-AD64-7A3360903CBA}"/>
          </ac:spMkLst>
        </pc:spChg>
        <pc:spChg chg="add del">
          <ac:chgData name="Aurelien Domont" userId="6da7715ce44349b3" providerId="LiveId" clId="{A0AC69FB-CC50-467D-9D7C-3ACB61EFF5A5}" dt="2021-09-24T07:31:40.031" v="5597" actId="478"/>
          <ac:spMkLst>
            <pc:docMk/>
            <pc:sldMk cId="1859429594" sldId="2257"/>
            <ac:spMk id="19" creationId="{2FD49853-391F-40FD-855B-9EA38C7F4726}"/>
          </ac:spMkLst>
        </pc:spChg>
      </pc:sldChg>
      <pc:sldChg chg="add del">
        <pc:chgData name="Aurelien Domont" userId="6da7715ce44349b3" providerId="LiveId" clId="{A0AC69FB-CC50-467D-9D7C-3ACB61EFF5A5}" dt="2021-09-24T07:36:54.154" v="5651" actId="47"/>
        <pc:sldMkLst>
          <pc:docMk/>
          <pc:sldMk cId="692414333" sldId="2258"/>
        </pc:sldMkLst>
      </pc:sldChg>
      <pc:sldChg chg="add del">
        <pc:chgData name="Aurelien Domont" userId="6da7715ce44349b3" providerId="LiveId" clId="{A0AC69FB-CC50-467D-9D7C-3ACB61EFF5A5}" dt="2021-09-24T07:34:07.266" v="5638" actId="47"/>
        <pc:sldMkLst>
          <pc:docMk/>
          <pc:sldMk cId="2881893443" sldId="2259"/>
        </pc:sldMkLst>
      </pc:sldChg>
      <pc:sldChg chg="add del">
        <pc:chgData name="Aurelien Domont" userId="6da7715ce44349b3" providerId="LiveId" clId="{A0AC69FB-CC50-467D-9D7C-3ACB61EFF5A5}" dt="2021-09-24T07:34:06.479" v="5637" actId="47"/>
        <pc:sldMkLst>
          <pc:docMk/>
          <pc:sldMk cId="210340160" sldId="2260"/>
        </pc:sldMkLst>
      </pc:sldChg>
      <pc:sldChg chg="addSp modSp add mod">
        <pc:chgData name="Aurelien Domont" userId="6da7715ce44349b3" providerId="LiveId" clId="{A0AC69FB-CC50-467D-9D7C-3ACB61EFF5A5}" dt="2021-09-24T07:33:21.266" v="5632" actId="20577"/>
        <pc:sldMkLst>
          <pc:docMk/>
          <pc:sldMk cId="2987702534" sldId="2261"/>
        </pc:sldMkLst>
        <pc:spChg chg="add mod">
          <ac:chgData name="Aurelien Domont" userId="6da7715ce44349b3" providerId="LiveId" clId="{A0AC69FB-CC50-467D-9D7C-3ACB61EFF5A5}" dt="2021-09-24T07:33:21.266" v="5632" actId="20577"/>
          <ac:spMkLst>
            <pc:docMk/>
            <pc:sldMk cId="2987702534" sldId="2261"/>
            <ac:spMk id="9" creationId="{9A82CBEC-26F3-4A37-9DD5-443933E144B9}"/>
          </ac:spMkLst>
        </pc:spChg>
        <pc:spChg chg="mod">
          <ac:chgData name="Aurelien Domont" userId="6da7715ce44349b3" providerId="LiveId" clId="{A0AC69FB-CC50-467D-9D7C-3ACB61EFF5A5}" dt="2021-09-24T07:31:47.547" v="5598" actId="207"/>
          <ac:spMkLst>
            <pc:docMk/>
            <pc:sldMk cId="2987702534" sldId="2261"/>
            <ac:spMk id="16" creationId="{640354B0-CA8B-49DF-AC6F-96F8E9EE30FE}"/>
          </ac:spMkLst>
        </pc:spChg>
        <pc:spChg chg="mod">
          <ac:chgData name="Aurelien Domont" userId="6da7715ce44349b3" providerId="LiveId" clId="{A0AC69FB-CC50-467D-9D7C-3ACB61EFF5A5}" dt="2021-09-24T07:31:47.547" v="5598" actId="207"/>
          <ac:spMkLst>
            <pc:docMk/>
            <pc:sldMk cId="2987702534" sldId="2261"/>
            <ac:spMk id="17" creationId="{4F9AE484-6186-4692-8815-05F79EA8F026}"/>
          </ac:spMkLst>
        </pc:spChg>
      </pc:sldChg>
      <pc:sldChg chg="addSp delSp modSp add mod">
        <pc:chgData name="Aurelien Domont" userId="6da7715ce44349b3" providerId="LiveId" clId="{A0AC69FB-CC50-467D-9D7C-3ACB61EFF5A5}" dt="2021-09-24T07:34:45.704" v="5641" actId="478"/>
        <pc:sldMkLst>
          <pc:docMk/>
          <pc:sldMk cId="118922404" sldId="2262"/>
        </pc:sldMkLst>
        <pc:spChg chg="mod">
          <ac:chgData name="Aurelien Domont" userId="6da7715ce44349b3" providerId="LiveId" clId="{A0AC69FB-CC50-467D-9D7C-3ACB61EFF5A5}" dt="2021-09-24T07:34:43.139" v="5640" actId="20577"/>
          <ac:spMkLst>
            <pc:docMk/>
            <pc:sldMk cId="118922404" sldId="2262"/>
            <ac:spMk id="2" creationId="{63F277BE-B192-4EBA-977A-D3854CBCD4C8}"/>
          </ac:spMkLst>
        </pc:spChg>
        <pc:spChg chg="mod">
          <ac:chgData name="Aurelien Domont" userId="6da7715ce44349b3" providerId="LiveId" clId="{A0AC69FB-CC50-467D-9D7C-3ACB61EFF5A5}" dt="2021-09-24T07:34:02.746" v="5636" actId="108"/>
          <ac:spMkLst>
            <pc:docMk/>
            <pc:sldMk cId="118922404" sldId="2262"/>
            <ac:spMk id="5" creationId="{62E92608-F890-40B3-937F-3E16A767658D}"/>
          </ac:spMkLst>
        </pc:spChg>
        <pc:spChg chg="mod">
          <ac:chgData name="Aurelien Domont" userId="6da7715ce44349b3" providerId="LiveId" clId="{A0AC69FB-CC50-467D-9D7C-3ACB61EFF5A5}" dt="2021-09-24T07:34:13.940" v="5639"/>
          <ac:spMkLst>
            <pc:docMk/>
            <pc:sldMk cId="118922404" sldId="2262"/>
            <ac:spMk id="9" creationId="{9A82CBEC-26F3-4A37-9DD5-443933E144B9}"/>
          </ac:spMkLst>
        </pc:spChg>
        <pc:spChg chg="add mod">
          <ac:chgData name="Aurelien Domont" userId="6da7715ce44349b3" providerId="LiveId" clId="{A0AC69FB-CC50-467D-9D7C-3ACB61EFF5A5}" dt="2021-09-24T07:33:58.007" v="5634" actId="571"/>
          <ac:spMkLst>
            <pc:docMk/>
            <pc:sldMk cId="118922404" sldId="2262"/>
            <ac:spMk id="10" creationId="{0F728C19-E164-444E-B638-1A0820E66A16}"/>
          </ac:spMkLst>
        </pc:spChg>
        <pc:spChg chg="mod">
          <ac:chgData name="Aurelien Domont" userId="6da7715ce44349b3" providerId="LiveId" clId="{A0AC69FB-CC50-467D-9D7C-3ACB61EFF5A5}" dt="2021-09-24T07:34:00.525" v="5635" actId="108"/>
          <ac:spMkLst>
            <pc:docMk/>
            <pc:sldMk cId="118922404" sldId="2262"/>
            <ac:spMk id="16" creationId="{640354B0-CA8B-49DF-AC6F-96F8E9EE30FE}"/>
          </ac:spMkLst>
        </pc:spChg>
        <pc:spChg chg="del">
          <ac:chgData name="Aurelien Domont" userId="6da7715ce44349b3" providerId="LiveId" clId="{A0AC69FB-CC50-467D-9D7C-3ACB61EFF5A5}" dt="2021-09-24T07:34:45.704" v="5641" actId="478"/>
          <ac:spMkLst>
            <pc:docMk/>
            <pc:sldMk cId="118922404" sldId="2262"/>
            <ac:spMk id="19" creationId="{2FD49853-391F-40FD-855B-9EA38C7F4726}"/>
          </ac:spMkLst>
        </pc:spChg>
      </pc:sldChg>
      <pc:sldChg chg="addSp delSp modSp add mod">
        <pc:chgData name="Aurelien Domont" userId="6da7715ce44349b3" providerId="LiveId" clId="{A0AC69FB-CC50-467D-9D7C-3ACB61EFF5A5}" dt="2021-09-24T07:36:52.478" v="5650"/>
        <pc:sldMkLst>
          <pc:docMk/>
          <pc:sldMk cId="750902443" sldId="2263"/>
        </pc:sldMkLst>
        <pc:spChg chg="mod">
          <ac:chgData name="Aurelien Domont" userId="6da7715ce44349b3" providerId="LiveId" clId="{A0AC69FB-CC50-467D-9D7C-3ACB61EFF5A5}" dt="2021-09-24T07:36:52.478" v="5650"/>
          <ac:spMkLst>
            <pc:docMk/>
            <pc:sldMk cId="750902443" sldId="2263"/>
            <ac:spMk id="9" creationId="{9A82CBEC-26F3-4A37-9DD5-443933E144B9}"/>
          </ac:spMkLst>
        </pc:spChg>
        <pc:spChg chg="del">
          <ac:chgData name="Aurelien Domont" userId="6da7715ce44349b3" providerId="LiveId" clId="{A0AC69FB-CC50-467D-9D7C-3ACB61EFF5A5}" dt="2021-09-24T07:36:42.671" v="5648" actId="478"/>
          <ac:spMkLst>
            <pc:docMk/>
            <pc:sldMk cId="750902443" sldId="2263"/>
            <ac:spMk id="10" creationId="{0F728C19-E164-444E-B638-1A0820E66A16}"/>
          </ac:spMkLst>
        </pc:spChg>
        <pc:spChg chg="add mod">
          <ac:chgData name="Aurelien Domont" userId="6da7715ce44349b3" providerId="LiveId" clId="{A0AC69FB-CC50-467D-9D7C-3ACB61EFF5A5}" dt="2021-09-24T07:36:40.622" v="5647" actId="1037"/>
          <ac:spMkLst>
            <pc:docMk/>
            <pc:sldMk cId="750902443" sldId="2263"/>
            <ac:spMk id="11" creationId="{9C25F574-18E7-499B-8DD2-FE650B5DFE54}"/>
          </ac:spMkLst>
        </pc:spChg>
        <pc:spChg chg="mod">
          <ac:chgData name="Aurelien Domont" userId="6da7715ce44349b3" providerId="LiveId" clId="{A0AC69FB-CC50-467D-9D7C-3ACB61EFF5A5}" dt="2021-09-24T07:36:44.378" v="5649" actId="108"/>
          <ac:spMkLst>
            <pc:docMk/>
            <pc:sldMk cId="750902443" sldId="2263"/>
            <ac:spMk id="16" creationId="{640354B0-CA8B-49DF-AC6F-96F8E9EE30FE}"/>
          </ac:spMkLst>
        </pc:spChg>
        <pc:spChg chg="mod">
          <ac:chgData name="Aurelien Domont" userId="6da7715ce44349b3" providerId="LiveId" clId="{A0AC69FB-CC50-467D-9D7C-3ACB61EFF5A5}" dt="2021-09-24T07:36:33.628" v="5643" actId="108"/>
          <ac:spMkLst>
            <pc:docMk/>
            <pc:sldMk cId="750902443" sldId="2263"/>
            <ac:spMk id="17" creationId="{4F9AE484-6186-4692-8815-05F79EA8F026}"/>
          </ac:spMkLst>
        </pc:spChg>
      </pc:sldChg>
      <pc:sldChg chg="addSp modSp add mod">
        <pc:chgData name="Aurelien Domont" userId="6da7715ce44349b3" providerId="LiveId" clId="{A0AC69FB-CC50-467D-9D7C-3ACB61EFF5A5}" dt="2021-09-26T22:08:30.112" v="5783" actId="207"/>
        <pc:sldMkLst>
          <pc:docMk/>
          <pc:sldMk cId="1933012722" sldId="2264"/>
        </pc:sldMkLst>
        <pc:spChg chg="mod">
          <ac:chgData name="Aurelien Domont" userId="6da7715ce44349b3" providerId="LiveId" clId="{A0AC69FB-CC50-467D-9D7C-3ACB61EFF5A5}" dt="2021-09-26T22:08:00.112" v="5778" actId="20577"/>
          <ac:spMkLst>
            <pc:docMk/>
            <pc:sldMk cId="1933012722" sldId="2264"/>
            <ac:spMk id="16" creationId="{6C2BB713-9637-4B9B-938F-E9768876782A}"/>
          </ac:spMkLst>
        </pc:spChg>
        <pc:spChg chg="add mod ord">
          <ac:chgData name="Aurelien Domont" userId="6da7715ce44349b3" providerId="LiveId" clId="{A0AC69FB-CC50-467D-9D7C-3ACB61EFF5A5}" dt="2021-09-26T22:08:27.212" v="5782" actId="167"/>
          <ac:spMkLst>
            <pc:docMk/>
            <pc:sldMk cId="1933012722" sldId="2264"/>
            <ac:spMk id="28" creationId="{82ED8C1E-A2D9-4026-8908-099F2C3B6AE3}"/>
          </ac:spMkLst>
        </pc:spChg>
        <pc:spChg chg="mod">
          <ac:chgData name="Aurelien Domont" userId="6da7715ce44349b3" providerId="LiveId" clId="{A0AC69FB-CC50-467D-9D7C-3ACB61EFF5A5}" dt="2021-09-26T22:08:30.112" v="5783" actId="207"/>
          <ac:spMkLst>
            <pc:docMk/>
            <pc:sldMk cId="1933012722" sldId="2264"/>
            <ac:spMk id="29" creationId="{66754C0B-CA1C-4C2D-AC4F-001AF7C33ABC}"/>
          </ac:spMkLst>
        </pc:spChg>
      </pc:sldChg>
      <pc:sldChg chg="add">
        <pc:chgData name="Aurelien Domont" userId="6da7715ce44349b3" providerId="LiveId" clId="{A0AC69FB-CC50-467D-9D7C-3ACB61EFF5A5}" dt="2021-09-26T22:08:36.797" v="5784"/>
        <pc:sldMkLst>
          <pc:docMk/>
          <pc:sldMk cId="2256100264" sldId="2265"/>
        </pc:sldMkLst>
      </pc:sldChg>
      <pc:sldChg chg="add">
        <pc:chgData name="Aurelien Domont" userId="6da7715ce44349b3" providerId="LiveId" clId="{A0AC69FB-CC50-467D-9D7C-3ACB61EFF5A5}" dt="2021-09-26T22:08:40.319" v="5785"/>
        <pc:sldMkLst>
          <pc:docMk/>
          <pc:sldMk cId="3989583428" sldId="2266"/>
        </pc:sldMkLst>
      </pc:sldChg>
      <pc:sldChg chg="add del">
        <pc:chgData name="Aurelien Domont" userId="6da7715ce44349b3" providerId="LiveId" clId="{A0AC69FB-CC50-467D-9D7C-3ACB61EFF5A5}" dt="2021-09-26T23:04:14.643" v="6516" actId="47"/>
        <pc:sldMkLst>
          <pc:docMk/>
          <pc:sldMk cId="3215479592" sldId="2267"/>
        </pc:sldMkLst>
      </pc:sldChg>
      <pc:sldChg chg="addSp delSp modSp add mod">
        <pc:chgData name="Aurelien Domont" userId="6da7715ce44349b3" providerId="LiveId" clId="{A0AC69FB-CC50-467D-9D7C-3ACB61EFF5A5}" dt="2021-09-26T23:07:16.425" v="6589" actId="20577"/>
        <pc:sldMkLst>
          <pc:docMk/>
          <pc:sldMk cId="412366012" sldId="2268"/>
        </pc:sldMkLst>
        <pc:spChg chg="mod">
          <ac:chgData name="Aurelien Domont" userId="6da7715ce44349b3" providerId="LiveId" clId="{A0AC69FB-CC50-467D-9D7C-3ACB61EFF5A5}" dt="2021-09-26T23:04:30.926" v="6531" actId="20577"/>
          <ac:spMkLst>
            <pc:docMk/>
            <pc:sldMk cId="412366012" sldId="2268"/>
            <ac:spMk id="2" creationId="{63F277BE-B192-4EBA-977A-D3854CBCD4C8}"/>
          </ac:spMkLst>
        </pc:spChg>
        <pc:spChg chg="mod">
          <ac:chgData name="Aurelien Domont" userId="6da7715ce44349b3" providerId="LiveId" clId="{A0AC69FB-CC50-467D-9D7C-3ACB61EFF5A5}" dt="2021-09-26T23:07:16.425" v="6589" actId="20577"/>
          <ac:spMkLst>
            <pc:docMk/>
            <pc:sldMk cId="412366012" sldId="2268"/>
            <ac:spMk id="3" creationId="{6BE1B6B4-87AF-4A0F-9A81-38B388B86D24}"/>
          </ac:spMkLst>
        </pc:spChg>
        <pc:spChg chg="add del mod">
          <ac:chgData name="Aurelien Domont" userId="6da7715ce44349b3" providerId="LiveId" clId="{A0AC69FB-CC50-467D-9D7C-3ACB61EFF5A5}" dt="2021-09-26T23:05:45.268" v="6576" actId="21"/>
          <ac:spMkLst>
            <pc:docMk/>
            <pc:sldMk cId="412366012" sldId="2268"/>
            <ac:spMk id="13" creationId="{1CB2EA08-AB4F-4BCC-850F-9AF0406EABB4}"/>
          </ac:spMkLst>
        </pc:spChg>
        <pc:spChg chg="del">
          <ac:chgData name="Aurelien Domont" userId="6da7715ce44349b3" providerId="LiveId" clId="{A0AC69FB-CC50-467D-9D7C-3ACB61EFF5A5}" dt="2021-09-26T23:04:41.136" v="6534" actId="478"/>
          <ac:spMkLst>
            <pc:docMk/>
            <pc:sldMk cId="412366012" sldId="2268"/>
            <ac:spMk id="14" creationId="{C569BF5D-FB64-4E7D-84D3-453A6417DD61}"/>
          </ac:spMkLst>
        </pc:spChg>
        <pc:spChg chg="del">
          <ac:chgData name="Aurelien Domont" userId="6da7715ce44349b3" providerId="LiveId" clId="{A0AC69FB-CC50-467D-9D7C-3ACB61EFF5A5}" dt="2021-09-26T23:04:41.136" v="6534" actId="478"/>
          <ac:spMkLst>
            <pc:docMk/>
            <pc:sldMk cId="412366012" sldId="2268"/>
            <ac:spMk id="15" creationId="{12058181-248B-477E-A50D-FC0EE7A82E5C}"/>
          </ac:spMkLst>
        </pc:spChg>
        <pc:spChg chg="del">
          <ac:chgData name="Aurelien Domont" userId="6da7715ce44349b3" providerId="LiveId" clId="{A0AC69FB-CC50-467D-9D7C-3ACB61EFF5A5}" dt="2021-09-26T23:04:41.136" v="6534" actId="478"/>
          <ac:spMkLst>
            <pc:docMk/>
            <pc:sldMk cId="412366012" sldId="2268"/>
            <ac:spMk id="17" creationId="{946E4F32-4BF9-433F-9E16-4D78B10CC152}"/>
          </ac:spMkLst>
        </pc:spChg>
        <pc:spChg chg="del">
          <ac:chgData name="Aurelien Domont" userId="6da7715ce44349b3" providerId="LiveId" clId="{A0AC69FB-CC50-467D-9D7C-3ACB61EFF5A5}" dt="2021-09-26T23:04:41.136" v="6534" actId="478"/>
          <ac:spMkLst>
            <pc:docMk/>
            <pc:sldMk cId="412366012" sldId="2268"/>
            <ac:spMk id="18" creationId="{0D0E486E-6BC1-4733-BF3F-0F3E042A083F}"/>
          </ac:spMkLst>
        </pc:spChg>
        <pc:spChg chg="del">
          <ac:chgData name="Aurelien Domont" userId="6da7715ce44349b3" providerId="LiveId" clId="{A0AC69FB-CC50-467D-9D7C-3ACB61EFF5A5}" dt="2021-09-26T23:04:41.136" v="6534" actId="478"/>
          <ac:spMkLst>
            <pc:docMk/>
            <pc:sldMk cId="412366012" sldId="2268"/>
            <ac:spMk id="19" creationId="{30846F37-1133-4905-88FD-215C2A0F1A79}"/>
          </ac:spMkLst>
        </pc:spChg>
        <pc:picChg chg="del">
          <ac:chgData name="Aurelien Domont" userId="6da7715ce44349b3" providerId="LiveId" clId="{A0AC69FB-CC50-467D-9D7C-3ACB61EFF5A5}" dt="2021-09-26T23:04:41.136" v="6534" actId="478"/>
          <ac:picMkLst>
            <pc:docMk/>
            <pc:sldMk cId="412366012" sldId="2268"/>
            <ac:picMk id="5" creationId="{1FF46138-EDF8-46E9-8269-CAD8B53844E1}"/>
          </ac:picMkLst>
        </pc:picChg>
        <pc:picChg chg="del">
          <ac:chgData name="Aurelien Domont" userId="6da7715ce44349b3" providerId="LiveId" clId="{A0AC69FB-CC50-467D-9D7C-3ACB61EFF5A5}" dt="2021-09-26T23:04:41.136" v="6534" actId="478"/>
          <ac:picMkLst>
            <pc:docMk/>
            <pc:sldMk cId="412366012" sldId="2268"/>
            <ac:picMk id="9" creationId="{E5A3DF7C-3698-4A06-93C9-94AB80F84062}"/>
          </ac:picMkLst>
        </pc:picChg>
        <pc:cxnChg chg="del">
          <ac:chgData name="Aurelien Domont" userId="6da7715ce44349b3" providerId="LiveId" clId="{A0AC69FB-CC50-467D-9D7C-3ACB61EFF5A5}" dt="2021-09-26T23:04:41.136" v="6534" actId="478"/>
          <ac:cxnSpMkLst>
            <pc:docMk/>
            <pc:sldMk cId="412366012" sldId="2268"/>
            <ac:cxnSpMk id="7" creationId="{B0685C61-C4F3-44E5-A79B-6ABAA7A9F649}"/>
          </ac:cxnSpMkLst>
        </pc:cxnChg>
      </pc:sldChg>
      <pc:sldChg chg="modSp add mod">
        <pc:chgData name="Aurelien Domont" userId="6da7715ce44349b3" providerId="LiveId" clId="{A0AC69FB-CC50-467D-9D7C-3ACB61EFF5A5}" dt="2021-09-26T23:11:56.411" v="6666" actId="179"/>
        <pc:sldMkLst>
          <pc:docMk/>
          <pc:sldMk cId="3965276186" sldId="2269"/>
        </pc:sldMkLst>
        <pc:spChg chg="mod">
          <ac:chgData name="Aurelien Domont" userId="6da7715ce44349b3" providerId="LiveId" clId="{A0AC69FB-CC50-467D-9D7C-3ACB61EFF5A5}" dt="2021-09-26T23:05:52.895" v="6585" actId="20577"/>
          <ac:spMkLst>
            <pc:docMk/>
            <pc:sldMk cId="3965276186" sldId="2269"/>
            <ac:spMk id="2" creationId="{63F277BE-B192-4EBA-977A-D3854CBCD4C8}"/>
          </ac:spMkLst>
        </pc:spChg>
        <pc:spChg chg="mod">
          <ac:chgData name="Aurelien Domont" userId="6da7715ce44349b3" providerId="LiveId" clId="{A0AC69FB-CC50-467D-9D7C-3ACB61EFF5A5}" dt="2021-09-26T23:11:56.411" v="6666" actId="179"/>
          <ac:spMkLst>
            <pc:docMk/>
            <pc:sldMk cId="3965276186" sldId="2269"/>
            <ac:spMk id="3" creationId="{6BE1B6B4-87AF-4A0F-9A81-38B388B86D24}"/>
          </ac:spMkLst>
        </pc:spChg>
      </pc:sldChg>
    </pc:docChg>
  </pc:docChgLst>
  <pc:docChgLst>
    <pc:chgData name="Aurelien Domont" userId="6da7715ce44349b3" providerId="LiveId" clId="{44413EB1-F580-483F-8249-BEDB9162E732}"/>
    <pc:docChg chg="custSel addSld delSld modSld">
      <pc:chgData name="Aurelien Domont" userId="6da7715ce44349b3" providerId="LiveId" clId="{44413EB1-F580-483F-8249-BEDB9162E732}" dt="2023-06-14T02:54:09.125" v="17" actId="207"/>
      <pc:docMkLst>
        <pc:docMk/>
      </pc:docMkLst>
      <pc:sldChg chg="addSp delSp modSp mod">
        <pc:chgData name="Aurelien Domont" userId="6da7715ce44349b3" providerId="LiveId" clId="{44413EB1-F580-483F-8249-BEDB9162E732}" dt="2023-01-30T05:20:49.490" v="1"/>
        <pc:sldMkLst>
          <pc:docMk/>
          <pc:sldMk cId="3131901387" sldId="256"/>
        </pc:sldMkLst>
        <pc:picChg chg="add mod">
          <ac:chgData name="Aurelien Domont" userId="6da7715ce44349b3" providerId="LiveId" clId="{44413EB1-F580-483F-8249-BEDB9162E732}" dt="2023-01-30T05:20:49.490" v="1"/>
          <ac:picMkLst>
            <pc:docMk/>
            <pc:sldMk cId="3131901387" sldId="256"/>
            <ac:picMk id="3" creationId="{BDBDD7A1-089D-E7CB-EC5A-84EC11BEF51F}"/>
          </ac:picMkLst>
        </pc:picChg>
        <pc:picChg chg="del">
          <ac:chgData name="Aurelien Domont" userId="6da7715ce44349b3" providerId="LiveId" clId="{44413EB1-F580-483F-8249-BEDB9162E732}" dt="2023-01-30T05:20:49.280" v="0" actId="478"/>
          <ac:picMkLst>
            <pc:docMk/>
            <pc:sldMk cId="3131901387" sldId="256"/>
            <ac:picMk id="7" creationId="{56F6D9FE-2BD8-43FA-8517-544E7B92AA1A}"/>
          </ac:picMkLst>
        </pc:picChg>
      </pc:sldChg>
      <pc:sldChg chg="add del">
        <pc:chgData name="Aurelien Domont" userId="6da7715ce44349b3" providerId="LiveId" clId="{44413EB1-F580-483F-8249-BEDB9162E732}" dt="2023-01-30T05:30:17.265" v="4" actId="47"/>
        <pc:sldMkLst>
          <pc:docMk/>
          <pc:sldMk cId="1754585881" sldId="1598"/>
        </pc:sldMkLst>
      </pc:sldChg>
      <pc:sldChg chg="del">
        <pc:chgData name="Aurelien Domont" userId="6da7715ce44349b3" providerId="LiveId" clId="{44413EB1-F580-483F-8249-BEDB9162E732}" dt="2023-01-30T05:30:16.563" v="3" actId="47"/>
        <pc:sldMkLst>
          <pc:docMk/>
          <pc:sldMk cId="2853806433" sldId="1600"/>
        </pc:sldMkLst>
      </pc:sldChg>
      <pc:sldChg chg="add">
        <pc:chgData name="Aurelien Domont" userId="6da7715ce44349b3" providerId="LiveId" clId="{44413EB1-F580-483F-8249-BEDB9162E732}" dt="2023-01-30T05:30:14.957" v="2"/>
        <pc:sldMkLst>
          <pc:docMk/>
          <pc:sldMk cId="1289725493" sldId="2149"/>
        </pc:sldMkLst>
      </pc:sldChg>
      <pc:sldChg chg="addSp delSp modSp mod">
        <pc:chgData name="Aurelien Domont" userId="6da7715ce44349b3" providerId="LiveId" clId="{44413EB1-F580-483F-8249-BEDB9162E732}" dt="2023-06-14T02:53:28.431" v="9" actId="207"/>
        <pc:sldMkLst>
          <pc:docMk/>
          <pc:sldMk cId="1110778063" sldId="2183"/>
        </pc:sldMkLst>
        <pc:spChg chg="add mod">
          <ac:chgData name="Aurelien Domont" userId="6da7715ce44349b3" providerId="LiveId" clId="{44413EB1-F580-483F-8249-BEDB9162E732}" dt="2023-06-14T02:53:14.911" v="6"/>
          <ac:spMkLst>
            <pc:docMk/>
            <pc:sldMk cId="1110778063" sldId="2183"/>
            <ac:spMk id="2" creationId="{B93F2CE6-FA48-402E-E1E5-A8E25DB7D4BC}"/>
          </ac:spMkLst>
        </pc:spChg>
        <pc:spChg chg="add mod">
          <ac:chgData name="Aurelien Domont" userId="6da7715ce44349b3" providerId="LiveId" clId="{44413EB1-F580-483F-8249-BEDB9162E732}" dt="2023-06-14T02:53:14.911" v="6"/>
          <ac:spMkLst>
            <pc:docMk/>
            <pc:sldMk cId="1110778063" sldId="2183"/>
            <ac:spMk id="4" creationId="{93CF1918-ACC4-DE20-E0CF-1684AD8A8AFC}"/>
          </ac:spMkLst>
        </pc:spChg>
        <pc:spChg chg="add mod">
          <ac:chgData name="Aurelien Domont" userId="6da7715ce44349b3" providerId="LiveId" clId="{44413EB1-F580-483F-8249-BEDB9162E732}" dt="2023-06-14T02:53:14.911" v="6"/>
          <ac:spMkLst>
            <pc:docMk/>
            <pc:sldMk cId="1110778063" sldId="2183"/>
            <ac:spMk id="5" creationId="{89317831-B6CC-1200-A09C-0E1D127F825E}"/>
          </ac:spMkLst>
        </pc:spChg>
        <pc:spChg chg="add mod">
          <ac:chgData name="Aurelien Domont" userId="6da7715ce44349b3" providerId="LiveId" clId="{44413EB1-F580-483F-8249-BEDB9162E732}" dt="2023-06-14T02:53:28.431" v="9" actId="207"/>
          <ac:spMkLst>
            <pc:docMk/>
            <pc:sldMk cId="1110778063" sldId="2183"/>
            <ac:spMk id="6" creationId="{B2D64E16-F980-8C99-FEDE-284D7DF65720}"/>
          </ac:spMkLst>
        </pc:spChg>
        <pc:spChg chg="add mod">
          <ac:chgData name="Aurelien Domont" userId="6da7715ce44349b3" providerId="LiveId" clId="{44413EB1-F580-483F-8249-BEDB9162E732}" dt="2023-06-14T02:53:14.911" v="6"/>
          <ac:spMkLst>
            <pc:docMk/>
            <pc:sldMk cId="1110778063" sldId="2183"/>
            <ac:spMk id="7" creationId="{634EB61E-9197-64F5-A7B0-60DB17B488A8}"/>
          </ac:spMkLst>
        </pc:spChg>
        <pc:spChg chg="add mod">
          <ac:chgData name="Aurelien Domont" userId="6da7715ce44349b3" providerId="LiveId" clId="{44413EB1-F580-483F-8249-BEDB9162E732}" dt="2023-06-14T02:53:14.911" v="6"/>
          <ac:spMkLst>
            <pc:docMk/>
            <pc:sldMk cId="1110778063" sldId="2183"/>
            <ac:spMk id="8" creationId="{EB660DBB-BA9F-DD84-E202-17832C410733}"/>
          </ac:spMkLst>
        </pc:spChg>
        <pc:spChg chg="add mod">
          <ac:chgData name="Aurelien Domont" userId="6da7715ce44349b3" providerId="LiveId" clId="{44413EB1-F580-483F-8249-BEDB9162E732}" dt="2023-06-14T02:53:14.911" v="6"/>
          <ac:spMkLst>
            <pc:docMk/>
            <pc:sldMk cId="1110778063" sldId="2183"/>
            <ac:spMk id="21" creationId="{7F1AE0BB-8778-2545-521A-7826F06656D0}"/>
          </ac:spMkLst>
        </pc:spChg>
        <pc:spChg chg="add mod">
          <ac:chgData name="Aurelien Domont" userId="6da7715ce44349b3" providerId="LiveId" clId="{44413EB1-F580-483F-8249-BEDB9162E732}" dt="2023-06-14T02:53:14.911" v="6"/>
          <ac:spMkLst>
            <pc:docMk/>
            <pc:sldMk cId="1110778063" sldId="2183"/>
            <ac:spMk id="22" creationId="{CABD60D4-F11E-589F-8BAB-69D59534A4EF}"/>
          </ac:spMkLst>
        </pc:spChg>
        <pc:spChg chg="del">
          <ac:chgData name="Aurelien Domont" userId="6da7715ce44349b3" providerId="LiveId" clId="{44413EB1-F580-483F-8249-BEDB9162E732}" dt="2023-06-14T02:53:14.486" v="5" actId="478"/>
          <ac:spMkLst>
            <pc:docMk/>
            <pc:sldMk cId="1110778063" sldId="2183"/>
            <ac:spMk id="23" creationId="{7B9FA3AD-AF8D-40A8-9573-59344738707E}"/>
          </ac:spMkLst>
        </pc:spChg>
        <pc:spChg chg="add mod">
          <ac:chgData name="Aurelien Domont" userId="6da7715ce44349b3" providerId="LiveId" clId="{44413EB1-F580-483F-8249-BEDB9162E732}" dt="2023-06-14T02:53:14.911" v="6"/>
          <ac:spMkLst>
            <pc:docMk/>
            <pc:sldMk cId="1110778063" sldId="2183"/>
            <ac:spMk id="24" creationId="{8BAD5C04-3D07-EF49-612B-0E728E12A8DB}"/>
          </ac:spMkLst>
        </pc:spChg>
        <pc:spChg chg="add mod">
          <ac:chgData name="Aurelien Domont" userId="6da7715ce44349b3" providerId="LiveId" clId="{44413EB1-F580-483F-8249-BEDB9162E732}" dt="2023-06-14T02:53:14.911" v="6"/>
          <ac:spMkLst>
            <pc:docMk/>
            <pc:sldMk cId="1110778063" sldId="2183"/>
            <ac:spMk id="25" creationId="{700DBA55-7340-5EBD-9B25-6D95424E661F}"/>
          </ac:spMkLst>
        </pc:spChg>
        <pc:spChg chg="del">
          <ac:chgData name="Aurelien Domont" userId="6da7715ce44349b3" providerId="LiveId" clId="{44413EB1-F580-483F-8249-BEDB9162E732}" dt="2023-06-14T02:53:14.486" v="5" actId="478"/>
          <ac:spMkLst>
            <pc:docMk/>
            <pc:sldMk cId="1110778063" sldId="2183"/>
            <ac:spMk id="26" creationId="{BBF5946F-CA10-418F-8D81-6E378B7EE910}"/>
          </ac:spMkLst>
        </pc:spChg>
        <pc:spChg chg="del">
          <ac:chgData name="Aurelien Domont" userId="6da7715ce44349b3" providerId="LiveId" clId="{44413EB1-F580-483F-8249-BEDB9162E732}" dt="2023-06-14T02:53:14.486" v="5" actId="478"/>
          <ac:spMkLst>
            <pc:docMk/>
            <pc:sldMk cId="1110778063" sldId="2183"/>
            <ac:spMk id="27" creationId="{17AD1FC9-CE01-44BA-8144-EDCFDD81897E}"/>
          </ac:spMkLst>
        </pc:spChg>
        <pc:spChg chg="add mod">
          <ac:chgData name="Aurelien Domont" userId="6da7715ce44349b3" providerId="LiveId" clId="{44413EB1-F580-483F-8249-BEDB9162E732}" dt="2023-06-14T02:53:14.911" v="6"/>
          <ac:spMkLst>
            <pc:docMk/>
            <pc:sldMk cId="1110778063" sldId="2183"/>
            <ac:spMk id="28" creationId="{6604A534-A339-8BBD-BDF8-4B1A6A5FF9D6}"/>
          </ac:spMkLst>
        </pc:spChg>
        <pc:spChg chg="del">
          <ac:chgData name="Aurelien Domont" userId="6da7715ce44349b3" providerId="LiveId" clId="{44413EB1-F580-483F-8249-BEDB9162E732}" dt="2023-06-14T02:53:14.486" v="5" actId="478"/>
          <ac:spMkLst>
            <pc:docMk/>
            <pc:sldMk cId="1110778063" sldId="2183"/>
            <ac:spMk id="29" creationId="{66754C0B-CA1C-4C2D-AC4F-001AF7C33ABC}"/>
          </ac:spMkLst>
        </pc:spChg>
        <pc:spChg chg="del">
          <ac:chgData name="Aurelien Domont" userId="6da7715ce44349b3" providerId="LiveId" clId="{44413EB1-F580-483F-8249-BEDB9162E732}" dt="2023-06-14T02:53:14.486" v="5" actId="478"/>
          <ac:spMkLst>
            <pc:docMk/>
            <pc:sldMk cId="1110778063" sldId="2183"/>
            <ac:spMk id="30" creationId="{758FD0C2-6EE2-475E-B5D8-963924FC9571}"/>
          </ac:spMkLst>
        </pc:spChg>
        <pc:spChg chg="add mod">
          <ac:chgData name="Aurelien Domont" userId="6da7715ce44349b3" providerId="LiveId" clId="{44413EB1-F580-483F-8249-BEDB9162E732}" dt="2023-06-14T02:53:14.911" v="6"/>
          <ac:spMkLst>
            <pc:docMk/>
            <pc:sldMk cId="1110778063" sldId="2183"/>
            <ac:spMk id="32" creationId="{E3513DEC-A9C7-DA74-9014-AA48BA592DF1}"/>
          </ac:spMkLst>
        </pc:spChg>
        <pc:spChg chg="del">
          <ac:chgData name="Aurelien Domont" userId="6da7715ce44349b3" providerId="LiveId" clId="{44413EB1-F580-483F-8249-BEDB9162E732}" dt="2023-06-14T02:53:14.486" v="5" actId="478"/>
          <ac:spMkLst>
            <pc:docMk/>
            <pc:sldMk cId="1110778063" sldId="2183"/>
            <ac:spMk id="41" creationId="{3AD0AD56-3172-4435-B76D-9D25EA28C0AD}"/>
          </ac:spMkLst>
        </pc:spChg>
        <pc:spChg chg="del">
          <ac:chgData name="Aurelien Domont" userId="6da7715ce44349b3" providerId="LiveId" clId="{44413EB1-F580-483F-8249-BEDB9162E732}" dt="2023-06-14T02:53:14.486" v="5" actId="478"/>
          <ac:spMkLst>
            <pc:docMk/>
            <pc:sldMk cId="1110778063" sldId="2183"/>
            <ac:spMk id="52" creationId="{8B8C41BE-736E-435A-BE85-91948006C23C}"/>
          </ac:spMkLst>
        </pc:spChg>
        <pc:spChg chg="del">
          <ac:chgData name="Aurelien Domont" userId="6da7715ce44349b3" providerId="LiveId" clId="{44413EB1-F580-483F-8249-BEDB9162E732}" dt="2023-06-14T02:53:14.486" v="5" actId="478"/>
          <ac:spMkLst>
            <pc:docMk/>
            <pc:sldMk cId="1110778063" sldId="2183"/>
            <ac:spMk id="53" creationId="{B50669CA-264A-4849-B6BB-E3A0BE40742E}"/>
          </ac:spMkLst>
        </pc:spChg>
        <pc:spChg chg="del">
          <ac:chgData name="Aurelien Domont" userId="6da7715ce44349b3" providerId="LiveId" clId="{44413EB1-F580-483F-8249-BEDB9162E732}" dt="2023-06-14T02:53:14.486" v="5" actId="478"/>
          <ac:spMkLst>
            <pc:docMk/>
            <pc:sldMk cId="1110778063" sldId="2183"/>
            <ac:spMk id="54" creationId="{887E5116-AD69-48E3-9367-4A4D205A98F5}"/>
          </ac:spMkLst>
        </pc:spChg>
        <pc:spChg chg="del">
          <ac:chgData name="Aurelien Domont" userId="6da7715ce44349b3" providerId="LiveId" clId="{44413EB1-F580-483F-8249-BEDB9162E732}" dt="2023-06-14T02:53:14.486" v="5" actId="478"/>
          <ac:spMkLst>
            <pc:docMk/>
            <pc:sldMk cId="1110778063" sldId="2183"/>
            <ac:spMk id="55" creationId="{D792BDE0-03E7-45F7-9AA5-EE68EBDE65FC}"/>
          </ac:spMkLst>
        </pc:spChg>
        <pc:spChg chg="del">
          <ac:chgData name="Aurelien Domont" userId="6da7715ce44349b3" providerId="LiveId" clId="{44413EB1-F580-483F-8249-BEDB9162E732}" dt="2023-06-14T02:53:14.486" v="5" actId="478"/>
          <ac:spMkLst>
            <pc:docMk/>
            <pc:sldMk cId="1110778063" sldId="2183"/>
            <ac:spMk id="56" creationId="{7A9F9A1B-1CCB-4B8D-A21A-A40995A651F8}"/>
          </ac:spMkLst>
        </pc:spChg>
        <pc:spChg chg="del">
          <ac:chgData name="Aurelien Domont" userId="6da7715ce44349b3" providerId="LiveId" clId="{44413EB1-F580-483F-8249-BEDB9162E732}" dt="2023-06-14T02:53:14.486" v="5" actId="478"/>
          <ac:spMkLst>
            <pc:docMk/>
            <pc:sldMk cId="1110778063" sldId="2183"/>
            <ac:spMk id="58" creationId="{5A31936C-2BC2-4C07-93D8-17AECBC5835A}"/>
          </ac:spMkLst>
        </pc:spChg>
        <pc:picChg chg="add mod">
          <ac:chgData name="Aurelien Domont" userId="6da7715ce44349b3" providerId="LiveId" clId="{44413EB1-F580-483F-8249-BEDB9162E732}" dt="2023-06-14T02:53:14.911" v="6"/>
          <ac:picMkLst>
            <pc:docMk/>
            <pc:sldMk cId="1110778063" sldId="2183"/>
            <ac:picMk id="9" creationId="{8B04958A-D227-1A08-6AF4-224E24712746}"/>
          </ac:picMkLst>
        </pc:picChg>
        <pc:picChg chg="add mod">
          <ac:chgData name="Aurelien Domont" userId="6da7715ce44349b3" providerId="LiveId" clId="{44413EB1-F580-483F-8249-BEDB9162E732}" dt="2023-06-14T02:53:14.911" v="6"/>
          <ac:picMkLst>
            <pc:docMk/>
            <pc:sldMk cId="1110778063" sldId="2183"/>
            <ac:picMk id="10" creationId="{C2446D38-4D44-7DCA-3916-B9B9F658ABBE}"/>
          </ac:picMkLst>
        </pc:picChg>
        <pc:picChg chg="add mod">
          <ac:chgData name="Aurelien Domont" userId="6da7715ce44349b3" providerId="LiveId" clId="{44413EB1-F580-483F-8249-BEDB9162E732}" dt="2023-06-14T02:53:14.911" v="6"/>
          <ac:picMkLst>
            <pc:docMk/>
            <pc:sldMk cId="1110778063" sldId="2183"/>
            <ac:picMk id="11" creationId="{2D3EABC7-3D2D-7F05-7E64-B509D45DC73A}"/>
          </ac:picMkLst>
        </pc:picChg>
        <pc:picChg chg="add mod">
          <ac:chgData name="Aurelien Domont" userId="6da7715ce44349b3" providerId="LiveId" clId="{44413EB1-F580-483F-8249-BEDB9162E732}" dt="2023-06-14T02:53:14.911" v="6"/>
          <ac:picMkLst>
            <pc:docMk/>
            <pc:sldMk cId="1110778063" sldId="2183"/>
            <ac:picMk id="12" creationId="{3777F20F-6258-A414-A2B3-9323777C18F3}"/>
          </ac:picMkLst>
        </pc:picChg>
        <pc:picChg chg="add mod">
          <ac:chgData name="Aurelien Domont" userId="6da7715ce44349b3" providerId="LiveId" clId="{44413EB1-F580-483F-8249-BEDB9162E732}" dt="2023-06-14T02:53:14.911" v="6"/>
          <ac:picMkLst>
            <pc:docMk/>
            <pc:sldMk cId="1110778063" sldId="2183"/>
            <ac:picMk id="14" creationId="{176DCEAC-B9FB-6E3E-FCD2-25C5BBB2DA06}"/>
          </ac:picMkLst>
        </pc:picChg>
        <pc:picChg chg="add mod">
          <ac:chgData name="Aurelien Domont" userId="6da7715ce44349b3" providerId="LiveId" clId="{44413EB1-F580-483F-8249-BEDB9162E732}" dt="2023-06-14T02:53:14.911" v="6"/>
          <ac:picMkLst>
            <pc:docMk/>
            <pc:sldMk cId="1110778063" sldId="2183"/>
            <ac:picMk id="31" creationId="{0AAE3804-71B6-43CE-F159-0C6DE23F2AC1}"/>
          </ac:picMkLst>
        </pc:picChg>
        <pc:picChg chg="del">
          <ac:chgData name="Aurelien Domont" userId="6da7715ce44349b3" providerId="LiveId" clId="{44413EB1-F580-483F-8249-BEDB9162E732}" dt="2023-06-14T02:53:14.486" v="5" actId="478"/>
          <ac:picMkLst>
            <pc:docMk/>
            <pc:sldMk cId="1110778063" sldId="2183"/>
            <ac:picMk id="42" creationId="{6737E2A4-A3EE-493C-B688-574D4E94CF7C}"/>
          </ac:picMkLst>
        </pc:picChg>
        <pc:picChg chg="del">
          <ac:chgData name="Aurelien Domont" userId="6da7715ce44349b3" providerId="LiveId" clId="{44413EB1-F580-483F-8249-BEDB9162E732}" dt="2023-06-14T02:53:14.486" v="5" actId="478"/>
          <ac:picMkLst>
            <pc:docMk/>
            <pc:sldMk cId="1110778063" sldId="2183"/>
            <ac:picMk id="43" creationId="{2FA9F5E0-193C-42CE-9317-51EDFC24D78F}"/>
          </ac:picMkLst>
        </pc:picChg>
        <pc:picChg chg="del">
          <ac:chgData name="Aurelien Domont" userId="6da7715ce44349b3" providerId="LiveId" clId="{44413EB1-F580-483F-8249-BEDB9162E732}" dt="2023-06-14T02:53:14.486" v="5" actId="478"/>
          <ac:picMkLst>
            <pc:docMk/>
            <pc:sldMk cId="1110778063" sldId="2183"/>
            <ac:picMk id="44" creationId="{2965BF43-FB69-4966-9A0C-BE2B595ADA1E}"/>
          </ac:picMkLst>
        </pc:picChg>
        <pc:picChg chg="del">
          <ac:chgData name="Aurelien Domont" userId="6da7715ce44349b3" providerId="LiveId" clId="{44413EB1-F580-483F-8249-BEDB9162E732}" dt="2023-06-14T02:53:14.486" v="5" actId="478"/>
          <ac:picMkLst>
            <pc:docMk/>
            <pc:sldMk cId="1110778063" sldId="2183"/>
            <ac:picMk id="45" creationId="{7B968E34-5367-40AE-A87C-F73F973AB0B3}"/>
          </ac:picMkLst>
        </pc:picChg>
        <pc:picChg chg="del">
          <ac:chgData name="Aurelien Domont" userId="6da7715ce44349b3" providerId="LiveId" clId="{44413EB1-F580-483F-8249-BEDB9162E732}" dt="2023-06-14T02:53:14.486" v="5" actId="478"/>
          <ac:picMkLst>
            <pc:docMk/>
            <pc:sldMk cId="1110778063" sldId="2183"/>
            <ac:picMk id="46" creationId="{0FFC7638-D5BC-4297-B66D-36AD11BCB403}"/>
          </ac:picMkLst>
        </pc:picChg>
        <pc:picChg chg="del">
          <ac:chgData name="Aurelien Domont" userId="6da7715ce44349b3" providerId="LiveId" clId="{44413EB1-F580-483F-8249-BEDB9162E732}" dt="2023-06-14T02:53:14.486" v="5" actId="478"/>
          <ac:picMkLst>
            <pc:docMk/>
            <pc:sldMk cId="1110778063" sldId="2183"/>
            <ac:picMk id="57" creationId="{A7C289DF-D082-459A-A7F4-C5F4C7F8EC45}"/>
          </ac:picMkLst>
        </pc:picChg>
        <pc:cxnChg chg="add mod">
          <ac:chgData name="Aurelien Domont" userId="6da7715ce44349b3" providerId="LiveId" clId="{44413EB1-F580-483F-8249-BEDB9162E732}" dt="2023-06-14T02:53:14.911" v="6"/>
          <ac:cxnSpMkLst>
            <pc:docMk/>
            <pc:sldMk cId="1110778063" sldId="2183"/>
            <ac:cxnSpMk id="15" creationId="{995BF0D6-E4D9-3B92-8996-26AC677DD6C8}"/>
          </ac:cxnSpMkLst>
        </pc:cxnChg>
        <pc:cxnChg chg="add mod">
          <ac:chgData name="Aurelien Domont" userId="6da7715ce44349b3" providerId="LiveId" clId="{44413EB1-F580-483F-8249-BEDB9162E732}" dt="2023-06-14T02:53:14.911" v="6"/>
          <ac:cxnSpMkLst>
            <pc:docMk/>
            <pc:sldMk cId="1110778063" sldId="2183"/>
            <ac:cxnSpMk id="17" creationId="{7E02C82D-C082-6E00-1050-1BCFF0616CCD}"/>
          </ac:cxnSpMkLst>
        </pc:cxnChg>
        <pc:cxnChg chg="add mod">
          <ac:chgData name="Aurelien Domont" userId="6da7715ce44349b3" providerId="LiveId" clId="{44413EB1-F580-483F-8249-BEDB9162E732}" dt="2023-06-14T02:53:14.911" v="6"/>
          <ac:cxnSpMkLst>
            <pc:docMk/>
            <pc:sldMk cId="1110778063" sldId="2183"/>
            <ac:cxnSpMk id="18" creationId="{91E985FC-5E7A-12CF-9DB2-C1AFD3BEB0AA}"/>
          </ac:cxnSpMkLst>
        </pc:cxnChg>
        <pc:cxnChg chg="add mod">
          <ac:chgData name="Aurelien Domont" userId="6da7715ce44349b3" providerId="LiveId" clId="{44413EB1-F580-483F-8249-BEDB9162E732}" dt="2023-06-14T02:53:14.911" v="6"/>
          <ac:cxnSpMkLst>
            <pc:docMk/>
            <pc:sldMk cId="1110778063" sldId="2183"/>
            <ac:cxnSpMk id="19" creationId="{AA6732FF-F102-0967-1294-B2A9872833E7}"/>
          </ac:cxnSpMkLst>
        </pc:cxnChg>
        <pc:cxnChg chg="add mod">
          <ac:chgData name="Aurelien Domont" userId="6da7715ce44349b3" providerId="LiveId" clId="{44413EB1-F580-483F-8249-BEDB9162E732}" dt="2023-06-14T02:53:14.911" v="6"/>
          <ac:cxnSpMkLst>
            <pc:docMk/>
            <pc:sldMk cId="1110778063" sldId="2183"/>
            <ac:cxnSpMk id="20" creationId="{B8969B05-6FDF-455F-DBE2-8876C3DECAAC}"/>
          </ac:cxnSpMkLst>
        </pc:cxnChg>
        <pc:cxnChg chg="del">
          <ac:chgData name="Aurelien Domont" userId="6da7715ce44349b3" providerId="LiveId" clId="{44413EB1-F580-483F-8249-BEDB9162E732}" dt="2023-06-14T02:53:14.486" v="5" actId="478"/>
          <ac:cxnSpMkLst>
            <pc:docMk/>
            <pc:sldMk cId="1110778063" sldId="2183"/>
            <ac:cxnSpMk id="47" creationId="{7BB6C174-1A07-4A94-B6CD-0D4E5C95D3EF}"/>
          </ac:cxnSpMkLst>
        </pc:cxnChg>
        <pc:cxnChg chg="del">
          <ac:chgData name="Aurelien Domont" userId="6da7715ce44349b3" providerId="LiveId" clId="{44413EB1-F580-483F-8249-BEDB9162E732}" dt="2023-06-14T02:53:14.486" v="5" actId="478"/>
          <ac:cxnSpMkLst>
            <pc:docMk/>
            <pc:sldMk cId="1110778063" sldId="2183"/>
            <ac:cxnSpMk id="48" creationId="{EECF1CC2-7D43-4BD9-83CA-CC16DE7860E2}"/>
          </ac:cxnSpMkLst>
        </pc:cxnChg>
        <pc:cxnChg chg="del">
          <ac:chgData name="Aurelien Domont" userId="6da7715ce44349b3" providerId="LiveId" clId="{44413EB1-F580-483F-8249-BEDB9162E732}" dt="2023-06-14T02:53:14.486" v="5" actId="478"/>
          <ac:cxnSpMkLst>
            <pc:docMk/>
            <pc:sldMk cId="1110778063" sldId="2183"/>
            <ac:cxnSpMk id="49" creationId="{84EE96C3-363C-4A7F-9B6D-F6BC80E0FA66}"/>
          </ac:cxnSpMkLst>
        </pc:cxnChg>
        <pc:cxnChg chg="del">
          <ac:chgData name="Aurelien Domont" userId="6da7715ce44349b3" providerId="LiveId" clId="{44413EB1-F580-483F-8249-BEDB9162E732}" dt="2023-06-14T02:53:14.486" v="5" actId="478"/>
          <ac:cxnSpMkLst>
            <pc:docMk/>
            <pc:sldMk cId="1110778063" sldId="2183"/>
            <ac:cxnSpMk id="50" creationId="{C0D4981F-72C4-48AF-B555-98D79E0A869F}"/>
          </ac:cxnSpMkLst>
        </pc:cxnChg>
        <pc:cxnChg chg="del">
          <ac:chgData name="Aurelien Domont" userId="6da7715ce44349b3" providerId="LiveId" clId="{44413EB1-F580-483F-8249-BEDB9162E732}" dt="2023-06-14T02:53:14.486" v="5" actId="478"/>
          <ac:cxnSpMkLst>
            <pc:docMk/>
            <pc:sldMk cId="1110778063" sldId="2183"/>
            <ac:cxnSpMk id="51" creationId="{D2B4E729-73B4-4A6B-9408-EC2D6B8B95CB}"/>
          </ac:cxnSpMkLst>
        </pc:cxnChg>
      </pc:sldChg>
      <pc:sldChg chg="addSp delSp modSp mod">
        <pc:chgData name="Aurelien Domont" userId="6da7715ce44349b3" providerId="LiveId" clId="{44413EB1-F580-483F-8249-BEDB9162E732}" dt="2023-06-14T02:53:42.550" v="11" actId="207"/>
        <pc:sldMkLst>
          <pc:docMk/>
          <pc:sldMk cId="1933012722" sldId="2264"/>
        </pc:sldMkLst>
        <pc:spChg chg="add mod">
          <ac:chgData name="Aurelien Domont" userId="6da7715ce44349b3" providerId="LiveId" clId="{44413EB1-F580-483F-8249-BEDB9162E732}" dt="2023-06-14T02:53:21.907" v="8"/>
          <ac:spMkLst>
            <pc:docMk/>
            <pc:sldMk cId="1933012722" sldId="2264"/>
            <ac:spMk id="2" creationId="{2043AC27-62F9-AB77-3FBA-180C51A67447}"/>
          </ac:spMkLst>
        </pc:spChg>
        <pc:spChg chg="add mod">
          <ac:chgData name="Aurelien Domont" userId="6da7715ce44349b3" providerId="LiveId" clId="{44413EB1-F580-483F-8249-BEDB9162E732}" dt="2023-06-14T02:53:21.907" v="8"/>
          <ac:spMkLst>
            <pc:docMk/>
            <pc:sldMk cId="1933012722" sldId="2264"/>
            <ac:spMk id="4" creationId="{78092A53-7DB8-573C-437D-1F5CE88E1E79}"/>
          </ac:spMkLst>
        </pc:spChg>
        <pc:spChg chg="add mod">
          <ac:chgData name="Aurelien Domont" userId="6da7715ce44349b3" providerId="LiveId" clId="{44413EB1-F580-483F-8249-BEDB9162E732}" dt="2023-06-14T02:53:21.907" v="8"/>
          <ac:spMkLst>
            <pc:docMk/>
            <pc:sldMk cId="1933012722" sldId="2264"/>
            <ac:spMk id="5" creationId="{1B81F604-31A2-37BA-D12C-53B34DBB9722}"/>
          </ac:spMkLst>
        </pc:spChg>
        <pc:spChg chg="add mod">
          <ac:chgData name="Aurelien Domont" userId="6da7715ce44349b3" providerId="LiveId" clId="{44413EB1-F580-483F-8249-BEDB9162E732}" dt="2023-06-14T02:53:38.046" v="10" actId="207"/>
          <ac:spMkLst>
            <pc:docMk/>
            <pc:sldMk cId="1933012722" sldId="2264"/>
            <ac:spMk id="6" creationId="{1152F04C-AA14-48CC-535D-F2419DB240D9}"/>
          </ac:spMkLst>
        </pc:spChg>
        <pc:spChg chg="add mod">
          <ac:chgData name="Aurelien Domont" userId="6da7715ce44349b3" providerId="LiveId" clId="{44413EB1-F580-483F-8249-BEDB9162E732}" dt="2023-06-14T02:53:21.907" v="8"/>
          <ac:spMkLst>
            <pc:docMk/>
            <pc:sldMk cId="1933012722" sldId="2264"/>
            <ac:spMk id="7" creationId="{336E1546-9855-A8EA-C236-35AB9CBA6BF3}"/>
          </ac:spMkLst>
        </pc:spChg>
        <pc:spChg chg="add mod">
          <ac:chgData name="Aurelien Domont" userId="6da7715ce44349b3" providerId="LiveId" clId="{44413EB1-F580-483F-8249-BEDB9162E732}" dt="2023-06-14T02:53:21.907" v="8"/>
          <ac:spMkLst>
            <pc:docMk/>
            <pc:sldMk cId="1933012722" sldId="2264"/>
            <ac:spMk id="8" creationId="{11DF7730-C742-5BF9-0D91-553B44957B8E}"/>
          </ac:spMkLst>
        </pc:spChg>
        <pc:spChg chg="add mod">
          <ac:chgData name="Aurelien Domont" userId="6da7715ce44349b3" providerId="LiveId" clId="{44413EB1-F580-483F-8249-BEDB9162E732}" dt="2023-06-14T02:53:21.907" v="8"/>
          <ac:spMkLst>
            <pc:docMk/>
            <pc:sldMk cId="1933012722" sldId="2264"/>
            <ac:spMk id="21" creationId="{B2156D40-347F-0102-F793-0BB805819CE1}"/>
          </ac:spMkLst>
        </pc:spChg>
        <pc:spChg chg="add mod">
          <ac:chgData name="Aurelien Domont" userId="6da7715ce44349b3" providerId="LiveId" clId="{44413EB1-F580-483F-8249-BEDB9162E732}" dt="2023-06-14T02:53:21.907" v="8"/>
          <ac:spMkLst>
            <pc:docMk/>
            <pc:sldMk cId="1933012722" sldId="2264"/>
            <ac:spMk id="22" creationId="{770C856B-7A6F-CA8A-F178-EBF68BDFBAF8}"/>
          </ac:spMkLst>
        </pc:spChg>
        <pc:spChg chg="del">
          <ac:chgData name="Aurelien Domont" userId="6da7715ce44349b3" providerId="LiveId" clId="{44413EB1-F580-483F-8249-BEDB9162E732}" dt="2023-06-14T02:53:21.514" v="7" actId="478"/>
          <ac:spMkLst>
            <pc:docMk/>
            <pc:sldMk cId="1933012722" sldId="2264"/>
            <ac:spMk id="23" creationId="{7B9FA3AD-AF8D-40A8-9573-59344738707E}"/>
          </ac:spMkLst>
        </pc:spChg>
        <pc:spChg chg="add mod">
          <ac:chgData name="Aurelien Domont" userId="6da7715ce44349b3" providerId="LiveId" clId="{44413EB1-F580-483F-8249-BEDB9162E732}" dt="2023-06-14T02:53:21.907" v="8"/>
          <ac:spMkLst>
            <pc:docMk/>
            <pc:sldMk cId="1933012722" sldId="2264"/>
            <ac:spMk id="24" creationId="{331BB2FB-0296-522E-B092-846510E88CBD}"/>
          </ac:spMkLst>
        </pc:spChg>
        <pc:spChg chg="add mod">
          <ac:chgData name="Aurelien Domont" userId="6da7715ce44349b3" providerId="LiveId" clId="{44413EB1-F580-483F-8249-BEDB9162E732}" dt="2023-06-14T02:53:21.907" v="8"/>
          <ac:spMkLst>
            <pc:docMk/>
            <pc:sldMk cId="1933012722" sldId="2264"/>
            <ac:spMk id="25" creationId="{AA3865FF-3C0B-3FE6-1B6C-664CE69F595D}"/>
          </ac:spMkLst>
        </pc:spChg>
        <pc:spChg chg="del">
          <ac:chgData name="Aurelien Domont" userId="6da7715ce44349b3" providerId="LiveId" clId="{44413EB1-F580-483F-8249-BEDB9162E732}" dt="2023-06-14T02:53:21.514" v="7" actId="478"/>
          <ac:spMkLst>
            <pc:docMk/>
            <pc:sldMk cId="1933012722" sldId="2264"/>
            <ac:spMk id="26" creationId="{BBF5946F-CA10-418F-8D81-6E378B7EE910}"/>
          </ac:spMkLst>
        </pc:spChg>
        <pc:spChg chg="del">
          <ac:chgData name="Aurelien Domont" userId="6da7715ce44349b3" providerId="LiveId" clId="{44413EB1-F580-483F-8249-BEDB9162E732}" dt="2023-06-14T02:53:21.514" v="7" actId="478"/>
          <ac:spMkLst>
            <pc:docMk/>
            <pc:sldMk cId="1933012722" sldId="2264"/>
            <ac:spMk id="27" creationId="{17AD1FC9-CE01-44BA-8144-EDCFDD81897E}"/>
          </ac:spMkLst>
        </pc:spChg>
        <pc:spChg chg="del">
          <ac:chgData name="Aurelien Domont" userId="6da7715ce44349b3" providerId="LiveId" clId="{44413EB1-F580-483F-8249-BEDB9162E732}" dt="2023-06-14T02:53:21.514" v="7" actId="478"/>
          <ac:spMkLst>
            <pc:docMk/>
            <pc:sldMk cId="1933012722" sldId="2264"/>
            <ac:spMk id="28" creationId="{82ED8C1E-A2D9-4026-8908-099F2C3B6AE3}"/>
          </ac:spMkLst>
        </pc:spChg>
        <pc:spChg chg="del">
          <ac:chgData name="Aurelien Domont" userId="6da7715ce44349b3" providerId="LiveId" clId="{44413EB1-F580-483F-8249-BEDB9162E732}" dt="2023-06-14T02:53:21.514" v="7" actId="478"/>
          <ac:spMkLst>
            <pc:docMk/>
            <pc:sldMk cId="1933012722" sldId="2264"/>
            <ac:spMk id="29" creationId="{66754C0B-CA1C-4C2D-AC4F-001AF7C33ABC}"/>
          </ac:spMkLst>
        </pc:spChg>
        <pc:spChg chg="del">
          <ac:chgData name="Aurelien Domont" userId="6da7715ce44349b3" providerId="LiveId" clId="{44413EB1-F580-483F-8249-BEDB9162E732}" dt="2023-06-14T02:53:21.514" v="7" actId="478"/>
          <ac:spMkLst>
            <pc:docMk/>
            <pc:sldMk cId="1933012722" sldId="2264"/>
            <ac:spMk id="30" creationId="{758FD0C2-6EE2-475E-B5D8-963924FC9571}"/>
          </ac:spMkLst>
        </pc:spChg>
        <pc:spChg chg="add mod">
          <ac:chgData name="Aurelien Domont" userId="6da7715ce44349b3" providerId="LiveId" clId="{44413EB1-F580-483F-8249-BEDB9162E732}" dt="2023-06-14T02:53:42.550" v="11" actId="207"/>
          <ac:spMkLst>
            <pc:docMk/>
            <pc:sldMk cId="1933012722" sldId="2264"/>
            <ac:spMk id="31" creationId="{52909C4F-9ED6-42A9-F6D1-18AA5A789C40}"/>
          </ac:spMkLst>
        </pc:spChg>
        <pc:spChg chg="add mod">
          <ac:chgData name="Aurelien Domont" userId="6da7715ce44349b3" providerId="LiveId" clId="{44413EB1-F580-483F-8249-BEDB9162E732}" dt="2023-06-14T02:53:21.907" v="8"/>
          <ac:spMkLst>
            <pc:docMk/>
            <pc:sldMk cId="1933012722" sldId="2264"/>
            <ac:spMk id="33" creationId="{C98A445D-0106-2313-AECF-B091360A0486}"/>
          </ac:spMkLst>
        </pc:spChg>
        <pc:spChg chg="del">
          <ac:chgData name="Aurelien Domont" userId="6da7715ce44349b3" providerId="LiveId" clId="{44413EB1-F580-483F-8249-BEDB9162E732}" dt="2023-06-14T02:53:21.514" v="7" actId="478"/>
          <ac:spMkLst>
            <pc:docMk/>
            <pc:sldMk cId="1933012722" sldId="2264"/>
            <ac:spMk id="41" creationId="{3AD0AD56-3172-4435-B76D-9D25EA28C0AD}"/>
          </ac:spMkLst>
        </pc:spChg>
        <pc:spChg chg="del">
          <ac:chgData name="Aurelien Domont" userId="6da7715ce44349b3" providerId="LiveId" clId="{44413EB1-F580-483F-8249-BEDB9162E732}" dt="2023-06-14T02:53:21.514" v="7" actId="478"/>
          <ac:spMkLst>
            <pc:docMk/>
            <pc:sldMk cId="1933012722" sldId="2264"/>
            <ac:spMk id="52" creationId="{8B8C41BE-736E-435A-BE85-91948006C23C}"/>
          </ac:spMkLst>
        </pc:spChg>
        <pc:spChg chg="del">
          <ac:chgData name="Aurelien Domont" userId="6da7715ce44349b3" providerId="LiveId" clId="{44413EB1-F580-483F-8249-BEDB9162E732}" dt="2023-06-14T02:53:21.514" v="7" actId="478"/>
          <ac:spMkLst>
            <pc:docMk/>
            <pc:sldMk cId="1933012722" sldId="2264"/>
            <ac:spMk id="53" creationId="{B50669CA-264A-4849-B6BB-E3A0BE40742E}"/>
          </ac:spMkLst>
        </pc:spChg>
        <pc:spChg chg="del">
          <ac:chgData name="Aurelien Domont" userId="6da7715ce44349b3" providerId="LiveId" clId="{44413EB1-F580-483F-8249-BEDB9162E732}" dt="2023-06-14T02:53:21.514" v="7" actId="478"/>
          <ac:spMkLst>
            <pc:docMk/>
            <pc:sldMk cId="1933012722" sldId="2264"/>
            <ac:spMk id="54" creationId="{887E5116-AD69-48E3-9367-4A4D205A98F5}"/>
          </ac:spMkLst>
        </pc:spChg>
        <pc:spChg chg="del">
          <ac:chgData name="Aurelien Domont" userId="6da7715ce44349b3" providerId="LiveId" clId="{44413EB1-F580-483F-8249-BEDB9162E732}" dt="2023-06-14T02:53:21.514" v="7" actId="478"/>
          <ac:spMkLst>
            <pc:docMk/>
            <pc:sldMk cId="1933012722" sldId="2264"/>
            <ac:spMk id="55" creationId="{D792BDE0-03E7-45F7-9AA5-EE68EBDE65FC}"/>
          </ac:spMkLst>
        </pc:spChg>
        <pc:spChg chg="del">
          <ac:chgData name="Aurelien Domont" userId="6da7715ce44349b3" providerId="LiveId" clId="{44413EB1-F580-483F-8249-BEDB9162E732}" dt="2023-06-14T02:53:21.514" v="7" actId="478"/>
          <ac:spMkLst>
            <pc:docMk/>
            <pc:sldMk cId="1933012722" sldId="2264"/>
            <ac:spMk id="56" creationId="{7A9F9A1B-1CCB-4B8D-A21A-A40995A651F8}"/>
          </ac:spMkLst>
        </pc:spChg>
        <pc:spChg chg="del">
          <ac:chgData name="Aurelien Domont" userId="6da7715ce44349b3" providerId="LiveId" clId="{44413EB1-F580-483F-8249-BEDB9162E732}" dt="2023-06-14T02:53:21.514" v="7" actId="478"/>
          <ac:spMkLst>
            <pc:docMk/>
            <pc:sldMk cId="1933012722" sldId="2264"/>
            <ac:spMk id="58" creationId="{5A31936C-2BC2-4C07-93D8-17AECBC5835A}"/>
          </ac:spMkLst>
        </pc:spChg>
        <pc:picChg chg="add mod">
          <ac:chgData name="Aurelien Domont" userId="6da7715ce44349b3" providerId="LiveId" clId="{44413EB1-F580-483F-8249-BEDB9162E732}" dt="2023-06-14T02:53:21.907" v="8"/>
          <ac:picMkLst>
            <pc:docMk/>
            <pc:sldMk cId="1933012722" sldId="2264"/>
            <ac:picMk id="9" creationId="{E745E5EB-C077-2C7F-5856-4A2868250766}"/>
          </ac:picMkLst>
        </pc:picChg>
        <pc:picChg chg="add mod">
          <ac:chgData name="Aurelien Domont" userId="6da7715ce44349b3" providerId="LiveId" clId="{44413EB1-F580-483F-8249-BEDB9162E732}" dt="2023-06-14T02:53:21.907" v="8"/>
          <ac:picMkLst>
            <pc:docMk/>
            <pc:sldMk cId="1933012722" sldId="2264"/>
            <ac:picMk id="10" creationId="{AF533F68-52FB-3309-35EA-637C7D94BBD7}"/>
          </ac:picMkLst>
        </pc:picChg>
        <pc:picChg chg="add mod">
          <ac:chgData name="Aurelien Domont" userId="6da7715ce44349b3" providerId="LiveId" clId="{44413EB1-F580-483F-8249-BEDB9162E732}" dt="2023-06-14T02:53:21.907" v="8"/>
          <ac:picMkLst>
            <pc:docMk/>
            <pc:sldMk cId="1933012722" sldId="2264"/>
            <ac:picMk id="11" creationId="{AC1D0A47-D48E-F7F3-B4EE-EAC9057CE395}"/>
          </ac:picMkLst>
        </pc:picChg>
        <pc:picChg chg="add mod">
          <ac:chgData name="Aurelien Domont" userId="6da7715ce44349b3" providerId="LiveId" clId="{44413EB1-F580-483F-8249-BEDB9162E732}" dt="2023-06-14T02:53:21.907" v="8"/>
          <ac:picMkLst>
            <pc:docMk/>
            <pc:sldMk cId="1933012722" sldId="2264"/>
            <ac:picMk id="12" creationId="{9DAD426C-9C79-5200-F0AE-1D15367512E0}"/>
          </ac:picMkLst>
        </pc:picChg>
        <pc:picChg chg="add mod">
          <ac:chgData name="Aurelien Domont" userId="6da7715ce44349b3" providerId="LiveId" clId="{44413EB1-F580-483F-8249-BEDB9162E732}" dt="2023-06-14T02:53:21.907" v="8"/>
          <ac:picMkLst>
            <pc:docMk/>
            <pc:sldMk cId="1933012722" sldId="2264"/>
            <ac:picMk id="14" creationId="{96033663-936D-8A3E-3770-D9DD360523C4}"/>
          </ac:picMkLst>
        </pc:picChg>
        <pc:picChg chg="add mod">
          <ac:chgData name="Aurelien Domont" userId="6da7715ce44349b3" providerId="LiveId" clId="{44413EB1-F580-483F-8249-BEDB9162E732}" dt="2023-06-14T02:53:21.907" v="8"/>
          <ac:picMkLst>
            <pc:docMk/>
            <pc:sldMk cId="1933012722" sldId="2264"/>
            <ac:picMk id="32" creationId="{9D44542B-9202-2EB8-B862-DAACA91C39DA}"/>
          </ac:picMkLst>
        </pc:picChg>
        <pc:picChg chg="del">
          <ac:chgData name="Aurelien Domont" userId="6da7715ce44349b3" providerId="LiveId" clId="{44413EB1-F580-483F-8249-BEDB9162E732}" dt="2023-06-14T02:53:21.514" v="7" actId="478"/>
          <ac:picMkLst>
            <pc:docMk/>
            <pc:sldMk cId="1933012722" sldId="2264"/>
            <ac:picMk id="42" creationId="{6737E2A4-A3EE-493C-B688-574D4E94CF7C}"/>
          </ac:picMkLst>
        </pc:picChg>
        <pc:picChg chg="del">
          <ac:chgData name="Aurelien Domont" userId="6da7715ce44349b3" providerId="LiveId" clId="{44413EB1-F580-483F-8249-BEDB9162E732}" dt="2023-06-14T02:53:21.514" v="7" actId="478"/>
          <ac:picMkLst>
            <pc:docMk/>
            <pc:sldMk cId="1933012722" sldId="2264"/>
            <ac:picMk id="43" creationId="{2FA9F5E0-193C-42CE-9317-51EDFC24D78F}"/>
          </ac:picMkLst>
        </pc:picChg>
        <pc:picChg chg="del">
          <ac:chgData name="Aurelien Domont" userId="6da7715ce44349b3" providerId="LiveId" clId="{44413EB1-F580-483F-8249-BEDB9162E732}" dt="2023-06-14T02:53:21.514" v="7" actId="478"/>
          <ac:picMkLst>
            <pc:docMk/>
            <pc:sldMk cId="1933012722" sldId="2264"/>
            <ac:picMk id="44" creationId="{2965BF43-FB69-4966-9A0C-BE2B595ADA1E}"/>
          </ac:picMkLst>
        </pc:picChg>
        <pc:picChg chg="del">
          <ac:chgData name="Aurelien Domont" userId="6da7715ce44349b3" providerId="LiveId" clId="{44413EB1-F580-483F-8249-BEDB9162E732}" dt="2023-06-14T02:53:21.514" v="7" actId="478"/>
          <ac:picMkLst>
            <pc:docMk/>
            <pc:sldMk cId="1933012722" sldId="2264"/>
            <ac:picMk id="45" creationId="{7B968E34-5367-40AE-A87C-F73F973AB0B3}"/>
          </ac:picMkLst>
        </pc:picChg>
        <pc:picChg chg="del">
          <ac:chgData name="Aurelien Domont" userId="6da7715ce44349b3" providerId="LiveId" clId="{44413EB1-F580-483F-8249-BEDB9162E732}" dt="2023-06-14T02:53:21.514" v="7" actId="478"/>
          <ac:picMkLst>
            <pc:docMk/>
            <pc:sldMk cId="1933012722" sldId="2264"/>
            <ac:picMk id="46" creationId="{0FFC7638-D5BC-4297-B66D-36AD11BCB403}"/>
          </ac:picMkLst>
        </pc:picChg>
        <pc:picChg chg="del">
          <ac:chgData name="Aurelien Domont" userId="6da7715ce44349b3" providerId="LiveId" clId="{44413EB1-F580-483F-8249-BEDB9162E732}" dt="2023-06-14T02:53:21.514" v="7" actId="478"/>
          <ac:picMkLst>
            <pc:docMk/>
            <pc:sldMk cId="1933012722" sldId="2264"/>
            <ac:picMk id="57" creationId="{A7C289DF-D082-459A-A7F4-C5F4C7F8EC45}"/>
          </ac:picMkLst>
        </pc:picChg>
        <pc:cxnChg chg="add mod">
          <ac:chgData name="Aurelien Domont" userId="6da7715ce44349b3" providerId="LiveId" clId="{44413EB1-F580-483F-8249-BEDB9162E732}" dt="2023-06-14T02:53:21.907" v="8"/>
          <ac:cxnSpMkLst>
            <pc:docMk/>
            <pc:sldMk cId="1933012722" sldId="2264"/>
            <ac:cxnSpMk id="15" creationId="{5A410512-BB38-7F67-36E5-36DD510F042A}"/>
          </ac:cxnSpMkLst>
        </pc:cxnChg>
        <pc:cxnChg chg="add mod">
          <ac:chgData name="Aurelien Domont" userId="6da7715ce44349b3" providerId="LiveId" clId="{44413EB1-F580-483F-8249-BEDB9162E732}" dt="2023-06-14T02:53:21.907" v="8"/>
          <ac:cxnSpMkLst>
            <pc:docMk/>
            <pc:sldMk cId="1933012722" sldId="2264"/>
            <ac:cxnSpMk id="17" creationId="{A41FB9E5-BFAC-74B3-A8BC-F98D8F051218}"/>
          </ac:cxnSpMkLst>
        </pc:cxnChg>
        <pc:cxnChg chg="add mod">
          <ac:chgData name="Aurelien Domont" userId="6da7715ce44349b3" providerId="LiveId" clId="{44413EB1-F580-483F-8249-BEDB9162E732}" dt="2023-06-14T02:53:21.907" v="8"/>
          <ac:cxnSpMkLst>
            <pc:docMk/>
            <pc:sldMk cId="1933012722" sldId="2264"/>
            <ac:cxnSpMk id="18" creationId="{78CA105C-B011-8AB3-854F-A33BB5034E99}"/>
          </ac:cxnSpMkLst>
        </pc:cxnChg>
        <pc:cxnChg chg="add mod">
          <ac:chgData name="Aurelien Domont" userId="6da7715ce44349b3" providerId="LiveId" clId="{44413EB1-F580-483F-8249-BEDB9162E732}" dt="2023-06-14T02:53:21.907" v="8"/>
          <ac:cxnSpMkLst>
            <pc:docMk/>
            <pc:sldMk cId="1933012722" sldId="2264"/>
            <ac:cxnSpMk id="19" creationId="{0BCE10D7-633F-CE7A-DC4F-4F0F7117C805}"/>
          </ac:cxnSpMkLst>
        </pc:cxnChg>
        <pc:cxnChg chg="add mod">
          <ac:chgData name="Aurelien Domont" userId="6da7715ce44349b3" providerId="LiveId" clId="{44413EB1-F580-483F-8249-BEDB9162E732}" dt="2023-06-14T02:53:21.907" v="8"/>
          <ac:cxnSpMkLst>
            <pc:docMk/>
            <pc:sldMk cId="1933012722" sldId="2264"/>
            <ac:cxnSpMk id="20" creationId="{6D6E1246-682A-A9CB-A170-F9F734C3837D}"/>
          </ac:cxnSpMkLst>
        </pc:cxnChg>
        <pc:cxnChg chg="del">
          <ac:chgData name="Aurelien Domont" userId="6da7715ce44349b3" providerId="LiveId" clId="{44413EB1-F580-483F-8249-BEDB9162E732}" dt="2023-06-14T02:53:21.514" v="7" actId="478"/>
          <ac:cxnSpMkLst>
            <pc:docMk/>
            <pc:sldMk cId="1933012722" sldId="2264"/>
            <ac:cxnSpMk id="47" creationId="{7BB6C174-1A07-4A94-B6CD-0D4E5C95D3EF}"/>
          </ac:cxnSpMkLst>
        </pc:cxnChg>
        <pc:cxnChg chg="del">
          <ac:chgData name="Aurelien Domont" userId="6da7715ce44349b3" providerId="LiveId" clId="{44413EB1-F580-483F-8249-BEDB9162E732}" dt="2023-06-14T02:53:21.514" v="7" actId="478"/>
          <ac:cxnSpMkLst>
            <pc:docMk/>
            <pc:sldMk cId="1933012722" sldId="2264"/>
            <ac:cxnSpMk id="48" creationId="{EECF1CC2-7D43-4BD9-83CA-CC16DE7860E2}"/>
          </ac:cxnSpMkLst>
        </pc:cxnChg>
        <pc:cxnChg chg="del">
          <ac:chgData name="Aurelien Domont" userId="6da7715ce44349b3" providerId="LiveId" clId="{44413EB1-F580-483F-8249-BEDB9162E732}" dt="2023-06-14T02:53:21.514" v="7" actId="478"/>
          <ac:cxnSpMkLst>
            <pc:docMk/>
            <pc:sldMk cId="1933012722" sldId="2264"/>
            <ac:cxnSpMk id="49" creationId="{84EE96C3-363C-4A7F-9B6D-F6BC80E0FA66}"/>
          </ac:cxnSpMkLst>
        </pc:cxnChg>
        <pc:cxnChg chg="del">
          <ac:chgData name="Aurelien Domont" userId="6da7715ce44349b3" providerId="LiveId" clId="{44413EB1-F580-483F-8249-BEDB9162E732}" dt="2023-06-14T02:53:21.514" v="7" actId="478"/>
          <ac:cxnSpMkLst>
            <pc:docMk/>
            <pc:sldMk cId="1933012722" sldId="2264"/>
            <ac:cxnSpMk id="50" creationId="{C0D4981F-72C4-48AF-B555-98D79E0A869F}"/>
          </ac:cxnSpMkLst>
        </pc:cxnChg>
        <pc:cxnChg chg="del">
          <ac:chgData name="Aurelien Domont" userId="6da7715ce44349b3" providerId="LiveId" clId="{44413EB1-F580-483F-8249-BEDB9162E732}" dt="2023-06-14T02:53:21.514" v="7" actId="478"/>
          <ac:cxnSpMkLst>
            <pc:docMk/>
            <pc:sldMk cId="1933012722" sldId="2264"/>
            <ac:cxnSpMk id="51" creationId="{D2B4E729-73B4-4A6B-9408-EC2D6B8B95CB}"/>
          </ac:cxnSpMkLst>
        </pc:cxnChg>
      </pc:sldChg>
      <pc:sldChg chg="del">
        <pc:chgData name="Aurelien Domont" userId="6da7715ce44349b3" providerId="LiveId" clId="{44413EB1-F580-483F-8249-BEDB9162E732}" dt="2023-06-14T02:53:51.094" v="13" actId="47"/>
        <pc:sldMkLst>
          <pc:docMk/>
          <pc:sldMk cId="2256100264" sldId="2265"/>
        </pc:sldMkLst>
      </pc:sldChg>
      <pc:sldChg chg="del">
        <pc:chgData name="Aurelien Domont" userId="6da7715ce44349b3" providerId="LiveId" clId="{44413EB1-F580-483F-8249-BEDB9162E732}" dt="2023-06-14T02:54:05.934" v="16" actId="47"/>
        <pc:sldMkLst>
          <pc:docMk/>
          <pc:sldMk cId="3989583428" sldId="2266"/>
        </pc:sldMkLst>
      </pc:sldChg>
      <pc:sldChg chg="modSp add mod">
        <pc:chgData name="Aurelien Domont" userId="6da7715ce44349b3" providerId="LiveId" clId="{44413EB1-F580-483F-8249-BEDB9162E732}" dt="2023-06-14T02:54:00.103" v="14" actId="207"/>
        <pc:sldMkLst>
          <pc:docMk/>
          <pc:sldMk cId="1574572866" sldId="2270"/>
        </pc:sldMkLst>
        <pc:spChg chg="mod">
          <ac:chgData name="Aurelien Domont" userId="6da7715ce44349b3" providerId="LiveId" clId="{44413EB1-F580-483F-8249-BEDB9162E732}" dt="2023-06-14T02:54:00.103" v="14" actId="207"/>
          <ac:spMkLst>
            <pc:docMk/>
            <pc:sldMk cId="1574572866" sldId="2270"/>
            <ac:spMk id="31" creationId="{52909C4F-9ED6-42A9-F6D1-18AA5A789C40}"/>
          </ac:spMkLst>
        </pc:spChg>
      </pc:sldChg>
      <pc:sldChg chg="modSp add mod">
        <pc:chgData name="Aurelien Domont" userId="6da7715ce44349b3" providerId="LiveId" clId="{44413EB1-F580-483F-8249-BEDB9162E732}" dt="2023-06-14T02:54:09.125" v="17" actId="207"/>
        <pc:sldMkLst>
          <pc:docMk/>
          <pc:sldMk cId="310146656" sldId="2271"/>
        </pc:sldMkLst>
        <pc:spChg chg="mod">
          <ac:chgData name="Aurelien Domont" userId="6da7715ce44349b3" providerId="LiveId" clId="{44413EB1-F580-483F-8249-BEDB9162E732}" dt="2023-06-14T02:54:09.125" v="17" actId="207"/>
          <ac:spMkLst>
            <pc:docMk/>
            <pc:sldMk cId="310146656" sldId="2271"/>
            <ac:spMk id="31" creationId="{52909C4F-9ED6-42A9-F6D1-18AA5A789C4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6/14/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6/1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2067297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184703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1161358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2363766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8</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88.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89.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90.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890933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93584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5203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9980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3357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83480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76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54120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7112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userDrawn="1">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612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userDrawn="1">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772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userDrawn="1">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688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userDrawn="1">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061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userDrawn="1">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111114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userDrawn="1">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3984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userDrawn="1">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86303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9810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userDrawn="1">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578493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userDrawn="1">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1472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userDrawn="1">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7604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userDrawn="1">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1729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userDrawn="1">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103383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userDrawn="1">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07508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userDrawn="1">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14787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6053269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userDrawn="1">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8867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userDrawn="1">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4130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userDrawn="1">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7184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userDrawn="1">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6727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userDrawn="1">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532519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userDrawn="1">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userDrawn="1">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758268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userDrawn="1">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663751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9264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userDrawn="1">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051092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userDrawn="1">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41412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userDrawn="1">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2423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userDrawn="1">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15149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userDrawn="1">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29107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62290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32224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00983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35016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7242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7195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73070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09753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661651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87742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24639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94094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userDrawn="1">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13202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09529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133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277012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670264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01181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25349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61241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30564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5462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userDrawn="1">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436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626534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userDrawn="1">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7333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userDrawn="1">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924085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8.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2.xml"/><Relationship Id="rId5" Type="http://schemas.openxmlformats.org/officeDocument/2006/relationships/slideLayout" Target="../slideLayouts/slideLayout20.xml"/><Relationship Id="rId10"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7.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7.xml"/><Relationship Id="rId5" Type="http://schemas.openxmlformats.org/officeDocument/2006/relationships/slideLayout" Target="../slideLayouts/slideLayout28.xml"/><Relationship Id="rId10" Type="http://schemas.openxmlformats.org/officeDocument/2006/relationships/tags" Target="../tags/tag46.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2.xml"/><Relationship Id="rId5" Type="http://schemas.openxmlformats.org/officeDocument/2006/relationships/slideLayout" Target="../slideLayouts/slideLayout36.xml"/><Relationship Id="rId10" Type="http://schemas.openxmlformats.org/officeDocument/2006/relationships/tags" Target="../tags/tag61.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45.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7.xml"/><Relationship Id="rId5" Type="http://schemas.openxmlformats.org/officeDocument/2006/relationships/slideLayout" Target="../slideLayouts/slideLayout44.xml"/><Relationship Id="rId10" Type="http://schemas.openxmlformats.org/officeDocument/2006/relationships/tags" Target="../tags/tag76.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4.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2.xml"/><Relationship Id="rId5" Type="http://schemas.openxmlformats.org/officeDocument/2006/relationships/slideLayout" Target="../slideLayouts/slideLayout52.xml"/><Relationship Id="rId10" Type="http://schemas.openxmlformats.org/officeDocument/2006/relationships/tags" Target="../tags/tag91.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6.xml"/><Relationship Id="rId5" Type="http://schemas.openxmlformats.org/officeDocument/2006/relationships/slideLayout" Target="../slideLayouts/slideLayout60.xml"/><Relationship Id="rId10" Type="http://schemas.openxmlformats.org/officeDocument/2006/relationships/tags" Target="../tags/tag95.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0.xml"/><Relationship Id="rId5" Type="http://schemas.openxmlformats.org/officeDocument/2006/relationships/slideLayout" Target="../slideLayouts/slideLayout68.xml"/><Relationship Id="rId10" Type="http://schemas.openxmlformats.org/officeDocument/2006/relationships/tags" Target="../tags/tag99.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9683694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80667309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43382481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72999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685626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98863221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112350854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89259741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domontconsulting.com/" TargetMode="Externa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4.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15.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1.bin"/><Relationship Id="rId9" Type="http://schemas.openxmlformats.org/officeDocument/2006/relationships/image" Target="../media/image7.svg"/><Relationship Id="rId14" Type="http://schemas.openxmlformats.org/officeDocument/2006/relationships/image" Target="../media/image1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5.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16.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1.bin"/><Relationship Id="rId9" Type="http://schemas.openxmlformats.org/officeDocument/2006/relationships/image" Target="../media/image7.svg"/><Relationship Id="rId1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3.xml"/><Relationship Id="rId5" Type="http://schemas.openxmlformats.org/officeDocument/2006/relationships/image" Target="../media/image17.svg"/><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6.xml"/><Relationship Id="rId9" Type="http://schemas.openxmlformats.org/officeDocument/2006/relationships/hyperlink" Target="http://www.domontconsulting.co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2.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05.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1.bin"/><Relationship Id="rId9" Type="http://schemas.openxmlformats.org/officeDocument/2006/relationships/image" Target="../media/image7.svg"/><Relationship Id="rId1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notesSlide" Target="../notesSlides/notesSlide3.xml"/><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 Type="http://schemas.openxmlformats.org/officeDocument/2006/relationships/slideLayout" Target="../slideLayouts/slideLayout3.xml"/><Relationship Id="rId16" Type="http://schemas.openxmlformats.org/officeDocument/2006/relationships/image" Target="../media/image14.png"/><Relationship Id="rId1" Type="http://schemas.openxmlformats.org/officeDocument/2006/relationships/tags" Target="../tags/tag106.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oleObject" Target="../embeddings/oleObject61.bin"/><Relationship Id="rId9" Type="http://schemas.openxmlformats.org/officeDocument/2006/relationships/image" Target="../media/image7.svg"/><Relationship Id="rId14" Type="http://schemas.openxmlformats.org/officeDocument/2006/relationships/image" Target="../media/image1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slideLayout" Target="../slideLayouts/slideLayout3.xml"/><Relationship Id="rId4" Type="http://schemas.openxmlformats.org/officeDocument/2006/relationships/tags" Target="../tags/tag110.xml"/></Relationships>
</file>

<file path=ppt/slides/_rels/slide6.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slideLayout" Target="../slideLayouts/slideLayout3.xml"/><Relationship Id="rId4" Type="http://schemas.openxmlformats.org/officeDocument/2006/relationships/tags" Target="../tags/tag1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99175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pPr>
              <a:defRPr/>
            </a:pPr>
            <a:r>
              <a:rPr lang="en-GB" sz="4800" dirty="0"/>
              <a:t>Transaction Execution</a:t>
            </a:r>
            <a:endParaRPr lang="en-US" sz="4800" b="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168492" y="266480"/>
              <a:ext cx="406254"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Guide</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6" name="Text Placeholder 2">
            <a:extLst>
              <a:ext uri="{FF2B5EF4-FFF2-40B4-BE49-F238E27FC236}">
                <a16:creationId xmlns:a16="http://schemas.microsoft.com/office/drawing/2014/main" id="{352AA2C5-ED37-41BC-87C5-9CE052D30874}"/>
              </a:ext>
            </a:extLst>
          </p:cNvPr>
          <p:cNvSpPr>
            <a:spLocks noGrp="1"/>
          </p:cNvSpPr>
          <p:nvPr>
            <p:ph type="body" sz="quarter" idx="11"/>
          </p:nvPr>
        </p:nvSpPr>
        <p:spPr>
          <a:xfrm>
            <a:off x="503240" y="3280961"/>
            <a:ext cx="10313987" cy="1620957"/>
          </a:xfrm>
        </p:spPr>
        <p:txBody>
          <a:bodyPr lIns="0" tIns="0" rIns="0" bIns="0">
            <a:spAutoFit/>
          </a:bodyPr>
          <a:lstStyle/>
          <a:p>
            <a:r>
              <a:rPr lang="en-US" sz="1600" b="1" dirty="0"/>
              <a:t>CEO: </a:t>
            </a:r>
            <a:r>
              <a:rPr lang="en-US" sz="1600" dirty="0"/>
              <a:t>insert your own text</a:t>
            </a:r>
          </a:p>
          <a:p>
            <a:r>
              <a:rPr lang="en-US" sz="1600" b="1" dirty="0"/>
              <a:t>Chief Strategy Offic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pic>
        <p:nvPicPr>
          <p:cNvPr id="3" name="Picture 2">
            <a:hlinkClick r:id="rId7"/>
            <a:extLst>
              <a:ext uri="{FF2B5EF4-FFF2-40B4-BE49-F238E27FC236}">
                <a16:creationId xmlns:a16="http://schemas.microsoft.com/office/drawing/2014/main" id="{BDBDD7A1-089D-E7CB-EC5A-84EC11BEF51F}"/>
              </a:ext>
            </a:extLst>
          </p:cNvPr>
          <p:cNvPicPr>
            <a:picLocks noChangeAspect="1"/>
          </p:cNvPicPr>
          <p:nvPr/>
        </p:nvPicPr>
        <p:blipFill>
          <a:blip r:embed="rId8"/>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GB" sz="2000" b="0" kern="0" dirty="0">
                <a:solidFill>
                  <a:srgbClr val="002776"/>
                </a:solidFill>
              </a:rPr>
              <a:t>Methods of payment</a:t>
            </a:r>
            <a:endParaRPr lang="en-AU" b="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10</a:t>
            </a:fld>
            <a:endParaRPr lang="en-IN" dirty="0"/>
          </a:p>
        </p:txBody>
      </p:sp>
      <p:sp>
        <p:nvSpPr>
          <p:cNvPr id="3" name="TextBox 2">
            <a:extLst>
              <a:ext uri="{FF2B5EF4-FFF2-40B4-BE49-F238E27FC236}">
                <a16:creationId xmlns:a16="http://schemas.microsoft.com/office/drawing/2014/main" id="{6DEF2CCE-9A39-4032-833C-D69732163F23}"/>
              </a:ext>
            </a:extLst>
          </p:cNvPr>
          <p:cNvSpPr txBox="1"/>
          <p:nvPr/>
        </p:nvSpPr>
        <p:spPr>
          <a:xfrm>
            <a:off x="600891" y="1628503"/>
            <a:ext cx="10986272" cy="646331"/>
          </a:xfrm>
          <a:prstGeom prst="rect">
            <a:avLst/>
          </a:prstGeom>
          <a:noFill/>
        </p:spPr>
        <p:txBody>
          <a:bodyPr wrap="square" rtlCol="0">
            <a:spAutoFit/>
          </a:bodyPr>
          <a:lstStyle/>
          <a:p>
            <a:r>
              <a:rPr lang="en-US" dirty="0">
                <a:solidFill>
                  <a:srgbClr val="002060"/>
                </a:solidFill>
              </a:rPr>
              <a:t>The way in which the seller will be paid is quite clearly one of the most important aspects of structuring the deal. The top 3 methods of payment commonly used in mergers and acquisitions are:</a:t>
            </a:r>
          </a:p>
        </p:txBody>
      </p:sp>
      <p:sp>
        <p:nvSpPr>
          <p:cNvPr id="5" name="Rectangle 4">
            <a:extLst>
              <a:ext uri="{FF2B5EF4-FFF2-40B4-BE49-F238E27FC236}">
                <a16:creationId xmlns:a16="http://schemas.microsoft.com/office/drawing/2014/main" id="{62E92608-F890-40B3-937F-3E16A767658D}"/>
              </a:ext>
            </a:extLst>
          </p:cNvPr>
          <p:cNvSpPr/>
          <p:nvPr/>
        </p:nvSpPr>
        <p:spPr>
          <a:xfrm>
            <a:off x="722808" y="2499261"/>
            <a:ext cx="3126380" cy="9289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Cash</a:t>
            </a:r>
          </a:p>
        </p:txBody>
      </p:sp>
      <p:sp>
        <p:nvSpPr>
          <p:cNvPr id="16" name="Rectangle 15">
            <a:extLst>
              <a:ext uri="{FF2B5EF4-FFF2-40B4-BE49-F238E27FC236}">
                <a16:creationId xmlns:a16="http://schemas.microsoft.com/office/drawing/2014/main" id="{640354B0-CA8B-49DF-AC6F-96F8E9EE30FE}"/>
              </a:ext>
            </a:extLst>
          </p:cNvPr>
          <p:cNvSpPr/>
          <p:nvPr/>
        </p:nvSpPr>
        <p:spPr>
          <a:xfrm>
            <a:off x="4497975" y="2499261"/>
            <a:ext cx="3126380" cy="9289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Stock</a:t>
            </a:r>
          </a:p>
        </p:txBody>
      </p:sp>
      <p:sp>
        <p:nvSpPr>
          <p:cNvPr id="17" name="Rectangle 16">
            <a:extLst>
              <a:ext uri="{FF2B5EF4-FFF2-40B4-BE49-F238E27FC236}">
                <a16:creationId xmlns:a16="http://schemas.microsoft.com/office/drawing/2014/main" id="{4F9AE484-6186-4692-8815-05F79EA8F026}"/>
              </a:ext>
            </a:extLst>
          </p:cNvPr>
          <p:cNvSpPr/>
          <p:nvPr/>
        </p:nvSpPr>
        <p:spPr>
          <a:xfrm>
            <a:off x="8273142" y="2499261"/>
            <a:ext cx="3126380" cy="9289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bt</a:t>
            </a:r>
          </a:p>
        </p:txBody>
      </p:sp>
      <p:sp>
        <p:nvSpPr>
          <p:cNvPr id="9" name="Rectangle 8">
            <a:extLst>
              <a:ext uri="{FF2B5EF4-FFF2-40B4-BE49-F238E27FC236}">
                <a16:creationId xmlns:a16="http://schemas.microsoft.com/office/drawing/2014/main" id="{9A82CBEC-26F3-4A37-9DD5-443933E144B9}"/>
              </a:ext>
            </a:extLst>
          </p:cNvPr>
          <p:cNvSpPr/>
          <p:nvPr/>
        </p:nvSpPr>
        <p:spPr>
          <a:xfrm>
            <a:off x="722808" y="3970104"/>
            <a:ext cx="10676713" cy="21868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2"/>
                </a:solidFill>
              </a:rPr>
              <a:t>In a stock-for-stock exchange, the shareholders of the selling entity swap their shares for the shares of the acquirer. A stock-for-stock exchange is useful for the seller when its shareholders do not want to recognize taxable gains in the near term. Instead, they pay income taxes only when they sell the shares paid to them by the acquirer. They will pay taxes only on the difference between their cost basis in the stock of the acquiree and the price at which they sell the stock of the acquirer. However, this also means that shareholders will not have liquid investment positions in the short term.</a:t>
            </a:r>
          </a:p>
          <a:p>
            <a:endParaRPr lang="en-GB" sz="1200" dirty="0">
              <a:solidFill>
                <a:schemeClr val="tx2"/>
              </a:solidFill>
            </a:endParaRPr>
          </a:p>
          <a:p>
            <a:r>
              <a:rPr lang="en-GB" sz="1200" dirty="0">
                <a:solidFill>
                  <a:schemeClr val="tx2"/>
                </a:solidFill>
              </a:rPr>
              <a:t>In a stock-for-stock exchange, the seller shares with the acquirer the risk that the benefits of the acquisition are not realized. Thus, if the acquirer derives a purchase price based on the realization of synergy gains and those gains are not achieved, it is quite possible that the market will then force down the price of its shares. If the seller’s shareholders now own some of those shares, the value of the payment to them will decline.</a:t>
            </a:r>
          </a:p>
        </p:txBody>
      </p:sp>
      <p:sp>
        <p:nvSpPr>
          <p:cNvPr id="10" name="Arrow: Down 9">
            <a:extLst>
              <a:ext uri="{FF2B5EF4-FFF2-40B4-BE49-F238E27FC236}">
                <a16:creationId xmlns:a16="http://schemas.microsoft.com/office/drawing/2014/main" id="{0F728C19-E164-444E-B638-1A0820E66A16}"/>
              </a:ext>
            </a:extLst>
          </p:cNvPr>
          <p:cNvSpPr/>
          <p:nvPr/>
        </p:nvSpPr>
        <p:spPr>
          <a:xfrm>
            <a:off x="5898084" y="3535680"/>
            <a:ext cx="391885" cy="3135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922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GB" sz="2000" b="0" kern="0" dirty="0">
                <a:solidFill>
                  <a:srgbClr val="002776"/>
                </a:solidFill>
              </a:rPr>
              <a:t>Methods of payment</a:t>
            </a:r>
            <a:endParaRPr lang="en-AU" b="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11</a:t>
            </a:fld>
            <a:endParaRPr lang="en-IN" dirty="0"/>
          </a:p>
        </p:txBody>
      </p:sp>
      <p:sp>
        <p:nvSpPr>
          <p:cNvPr id="3" name="TextBox 2">
            <a:extLst>
              <a:ext uri="{FF2B5EF4-FFF2-40B4-BE49-F238E27FC236}">
                <a16:creationId xmlns:a16="http://schemas.microsoft.com/office/drawing/2014/main" id="{6DEF2CCE-9A39-4032-833C-D69732163F23}"/>
              </a:ext>
            </a:extLst>
          </p:cNvPr>
          <p:cNvSpPr txBox="1"/>
          <p:nvPr/>
        </p:nvSpPr>
        <p:spPr>
          <a:xfrm>
            <a:off x="600891" y="1628503"/>
            <a:ext cx="10986272" cy="646331"/>
          </a:xfrm>
          <a:prstGeom prst="rect">
            <a:avLst/>
          </a:prstGeom>
          <a:noFill/>
        </p:spPr>
        <p:txBody>
          <a:bodyPr wrap="square" rtlCol="0">
            <a:spAutoFit/>
          </a:bodyPr>
          <a:lstStyle/>
          <a:p>
            <a:r>
              <a:rPr lang="en-US" dirty="0">
                <a:solidFill>
                  <a:srgbClr val="002060"/>
                </a:solidFill>
              </a:rPr>
              <a:t>The way in which the seller will be paid is quite clearly one of the most important aspects of structuring the deal. The top 3 methods of payment commonly used in mergers and acquisitions are:</a:t>
            </a:r>
          </a:p>
        </p:txBody>
      </p:sp>
      <p:sp>
        <p:nvSpPr>
          <p:cNvPr id="5" name="Rectangle 4">
            <a:extLst>
              <a:ext uri="{FF2B5EF4-FFF2-40B4-BE49-F238E27FC236}">
                <a16:creationId xmlns:a16="http://schemas.microsoft.com/office/drawing/2014/main" id="{62E92608-F890-40B3-937F-3E16A767658D}"/>
              </a:ext>
            </a:extLst>
          </p:cNvPr>
          <p:cNvSpPr/>
          <p:nvPr/>
        </p:nvSpPr>
        <p:spPr>
          <a:xfrm>
            <a:off x="722808" y="2499261"/>
            <a:ext cx="3126380" cy="9289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Cash</a:t>
            </a:r>
          </a:p>
        </p:txBody>
      </p:sp>
      <p:sp>
        <p:nvSpPr>
          <p:cNvPr id="16" name="Rectangle 15">
            <a:extLst>
              <a:ext uri="{FF2B5EF4-FFF2-40B4-BE49-F238E27FC236}">
                <a16:creationId xmlns:a16="http://schemas.microsoft.com/office/drawing/2014/main" id="{640354B0-CA8B-49DF-AC6F-96F8E9EE30FE}"/>
              </a:ext>
            </a:extLst>
          </p:cNvPr>
          <p:cNvSpPr/>
          <p:nvPr/>
        </p:nvSpPr>
        <p:spPr>
          <a:xfrm>
            <a:off x="4497975" y="2499261"/>
            <a:ext cx="3126380" cy="9289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Stock</a:t>
            </a:r>
          </a:p>
        </p:txBody>
      </p:sp>
      <p:sp>
        <p:nvSpPr>
          <p:cNvPr id="17" name="Rectangle 16">
            <a:extLst>
              <a:ext uri="{FF2B5EF4-FFF2-40B4-BE49-F238E27FC236}">
                <a16:creationId xmlns:a16="http://schemas.microsoft.com/office/drawing/2014/main" id="{4F9AE484-6186-4692-8815-05F79EA8F026}"/>
              </a:ext>
            </a:extLst>
          </p:cNvPr>
          <p:cNvSpPr/>
          <p:nvPr/>
        </p:nvSpPr>
        <p:spPr>
          <a:xfrm>
            <a:off x="8273142" y="2499261"/>
            <a:ext cx="3126380" cy="9289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bt</a:t>
            </a:r>
          </a:p>
        </p:txBody>
      </p:sp>
      <p:sp>
        <p:nvSpPr>
          <p:cNvPr id="9" name="Rectangle 8">
            <a:extLst>
              <a:ext uri="{FF2B5EF4-FFF2-40B4-BE49-F238E27FC236}">
                <a16:creationId xmlns:a16="http://schemas.microsoft.com/office/drawing/2014/main" id="{9A82CBEC-26F3-4A37-9DD5-443933E144B9}"/>
              </a:ext>
            </a:extLst>
          </p:cNvPr>
          <p:cNvSpPr/>
          <p:nvPr/>
        </p:nvSpPr>
        <p:spPr>
          <a:xfrm>
            <a:off x="722808" y="3970104"/>
            <a:ext cx="10676713" cy="21868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2"/>
                </a:solidFill>
              </a:rPr>
              <a:t>The acquirer may include debt in the structure of its deal to buy the acquiree. This can be beneficial to the seller’s shareholders, since they do not pay income taxes until they receive the debt payments.</a:t>
            </a:r>
          </a:p>
          <a:p>
            <a:endParaRPr lang="en-GB" sz="1200" dirty="0">
              <a:solidFill>
                <a:schemeClr val="tx2"/>
              </a:solidFill>
            </a:endParaRPr>
          </a:p>
          <a:p>
            <a:r>
              <a:rPr lang="en-GB" sz="1200" dirty="0">
                <a:solidFill>
                  <a:schemeClr val="tx2"/>
                </a:solidFill>
              </a:rPr>
              <a:t>The seller should not accept this form of payment unless it is very certain of the financial condition of the acquirer. Otherwise, if the acquirer were to enter bankruptcy, the seller’s shareholders would simply be categorized among other creditors to be paid out of any remaining assets. The seller can mitigate this risk to some extent by placing the holders of the debt in the most senior position of all debt holders. However, most companies already have assigned senior debt positions to other lenders, so the shareholders are placed in a junior debt position. The seller could place a lien on the assets of the acquiree, but the seller will have no control over those assets once the purchase agreement is finalized; this means that the acquirer could sell off the assets and use the proceeds, or simply let the equipment run down over time without proper maintenance, leaving little for the seller’s shareholders to recover.</a:t>
            </a:r>
          </a:p>
        </p:txBody>
      </p:sp>
      <p:sp>
        <p:nvSpPr>
          <p:cNvPr id="11" name="Arrow: Down 10">
            <a:extLst>
              <a:ext uri="{FF2B5EF4-FFF2-40B4-BE49-F238E27FC236}">
                <a16:creationId xmlns:a16="http://schemas.microsoft.com/office/drawing/2014/main" id="{9C25F574-18E7-499B-8DD2-FE650B5DFE54}"/>
              </a:ext>
            </a:extLst>
          </p:cNvPr>
          <p:cNvSpPr/>
          <p:nvPr/>
        </p:nvSpPr>
        <p:spPr>
          <a:xfrm>
            <a:off x="9695020" y="3535680"/>
            <a:ext cx="391885" cy="3135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50902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2" name="Chevron 10">
            <a:extLst>
              <a:ext uri="{FF2B5EF4-FFF2-40B4-BE49-F238E27FC236}">
                <a16:creationId xmlns:a16="http://schemas.microsoft.com/office/drawing/2014/main" id="{2043AC27-62F9-AB77-3FBA-180C51A67447}"/>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78092A53-7DB8-573C-437D-1F5CE88E1E79}"/>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1B81F604-31A2-37BA-D12C-53B34DBB9722}"/>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1152F04C-AA14-48CC-535D-F2419DB240D9}"/>
              </a:ext>
            </a:extLst>
          </p:cNvPr>
          <p:cNvSpPr/>
          <p:nvPr/>
        </p:nvSpPr>
        <p:spPr bwMode="auto">
          <a:xfrm>
            <a:off x="7822784"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336E1546-9855-A8EA-C236-35AB9CBA6BF3}"/>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11DF7730-C742-5BF9-0D91-553B44957B8E}"/>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E745E5EB-C077-2C7F-5856-4A286825076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AF533F68-52FB-3309-35EA-637C7D94BBD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AC1D0A47-D48E-F7F3-B4EE-EAC9057CE3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9DAD426C-9C79-5200-F0AE-1D15367512E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96033663-936D-8A3E-3770-D9DD360523C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5A410512-BB38-7F67-36E5-36DD510F042A}"/>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41FB9E5-BFAC-74B3-A8BC-F98D8F051218}"/>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8CA105C-B011-8AB3-854F-A33BB5034E99}"/>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BCE10D7-633F-CE7A-DC4F-4F0F7117C805}"/>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D6E1246-682A-A9CB-A170-F9F734C3837D}"/>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2156D40-347F-0102-F793-0BB805819CE1}"/>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770C856B-7A6F-CA8A-F178-EBF68BDFBAF8}"/>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331BB2FB-0296-522E-B092-846510E88CBD}"/>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AA3865FF-3C0B-3FE6-1B6C-664CE69F595D}"/>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31" name="Rectangle 30">
            <a:extLst>
              <a:ext uri="{FF2B5EF4-FFF2-40B4-BE49-F238E27FC236}">
                <a16:creationId xmlns:a16="http://schemas.microsoft.com/office/drawing/2014/main" id="{52909C4F-9ED6-42A9-F6D1-18AA5A789C40}"/>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B0F0"/>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32" name="Graphic 31" descr="Statistics outline">
            <a:extLst>
              <a:ext uri="{FF2B5EF4-FFF2-40B4-BE49-F238E27FC236}">
                <a16:creationId xmlns:a16="http://schemas.microsoft.com/office/drawing/2014/main" id="{9D44542B-9202-2EB8-B862-DAACA91C39D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3" name="Rectangle 32">
            <a:extLst>
              <a:ext uri="{FF2B5EF4-FFF2-40B4-BE49-F238E27FC236}">
                <a16:creationId xmlns:a16="http://schemas.microsoft.com/office/drawing/2014/main" id="{C98A445D-0106-2313-AECF-B091360A0486}"/>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574572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M&amp;A negotiations</a:t>
            </a:r>
          </a:p>
        </p:txBody>
      </p:sp>
      <p:sp>
        <p:nvSpPr>
          <p:cNvPr id="3" name="Text Placeholder 2">
            <a:extLst>
              <a:ext uri="{FF2B5EF4-FFF2-40B4-BE49-F238E27FC236}">
                <a16:creationId xmlns:a16="http://schemas.microsoft.com/office/drawing/2014/main" id="{6BE1B6B4-87AF-4A0F-9A81-38B388B86D24}"/>
              </a:ext>
            </a:extLst>
          </p:cNvPr>
          <p:cNvSpPr>
            <a:spLocks noGrp="1"/>
          </p:cNvSpPr>
          <p:nvPr>
            <p:ph type="body" sz="quarter" idx="10"/>
          </p:nvPr>
        </p:nvSpPr>
        <p:spPr>
          <a:xfrm>
            <a:off x="508001" y="1619828"/>
            <a:ext cx="11079163" cy="4084285"/>
          </a:xfrm>
        </p:spPr>
        <p:txBody>
          <a:bodyPr>
            <a:normAutofit/>
          </a:bodyPr>
          <a:lstStyle/>
          <a:p>
            <a:pPr>
              <a:lnSpc>
                <a:spcPct val="120000"/>
              </a:lnSpc>
              <a:spcBef>
                <a:spcPts val="300"/>
              </a:spcBef>
              <a:spcAft>
                <a:spcPts val="300"/>
              </a:spcAft>
            </a:pPr>
            <a:r>
              <a:rPr lang="en-GB" dirty="0"/>
              <a:t>While every negotiation process is different, there are basic principles that always apply and should be used to develop your negotiating strategy:</a:t>
            </a:r>
          </a:p>
          <a:p>
            <a:pPr>
              <a:lnSpc>
                <a:spcPct val="120000"/>
              </a:lnSpc>
              <a:spcBef>
                <a:spcPts val="300"/>
              </a:spcBef>
              <a:spcAft>
                <a:spcPts val="300"/>
              </a:spcAft>
            </a:pPr>
            <a:endParaRPr lang="en-GB" dirty="0"/>
          </a:p>
          <a:p>
            <a:pPr marL="285750" indent="-285750">
              <a:lnSpc>
                <a:spcPct val="120000"/>
              </a:lnSpc>
              <a:spcBef>
                <a:spcPts val="300"/>
              </a:spcBef>
              <a:spcAft>
                <a:spcPts val="300"/>
              </a:spcAft>
              <a:buFont typeface="Arial" panose="020B0604020202020204" pitchFamily="34" charset="0"/>
              <a:buChar char="•"/>
            </a:pPr>
            <a:endParaRPr lang="en-AU" sz="140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13</a:t>
            </a:fld>
            <a:endParaRPr lang="en-IN" dirty="0"/>
          </a:p>
        </p:txBody>
      </p:sp>
      <p:sp>
        <p:nvSpPr>
          <p:cNvPr id="5" name="Rectangle 4">
            <a:extLst>
              <a:ext uri="{FF2B5EF4-FFF2-40B4-BE49-F238E27FC236}">
                <a16:creationId xmlns:a16="http://schemas.microsoft.com/office/drawing/2014/main" id="{2D523972-59B8-414D-BB51-934740F273E2}"/>
              </a:ext>
            </a:extLst>
          </p:cNvPr>
          <p:cNvSpPr/>
          <p:nvPr/>
        </p:nvSpPr>
        <p:spPr>
          <a:xfrm>
            <a:off x="604835" y="2377338"/>
            <a:ext cx="2451873" cy="7653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Make the right first offer</a:t>
            </a:r>
          </a:p>
        </p:txBody>
      </p:sp>
      <p:sp>
        <p:nvSpPr>
          <p:cNvPr id="7" name="Rectangle 6">
            <a:extLst>
              <a:ext uri="{FF2B5EF4-FFF2-40B4-BE49-F238E27FC236}">
                <a16:creationId xmlns:a16="http://schemas.microsoft.com/office/drawing/2014/main" id="{B9552CD0-EEE8-41B2-BFCA-BAF171B62194}"/>
              </a:ext>
            </a:extLst>
          </p:cNvPr>
          <p:cNvSpPr/>
          <p:nvPr/>
        </p:nvSpPr>
        <p:spPr>
          <a:xfrm>
            <a:off x="3153542" y="2377338"/>
            <a:ext cx="8433621" cy="765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2"/>
                </a:solidFill>
              </a:rPr>
              <a:t>The first offer is usually the most important and always serves as the benchmark for all that follow. Make your first offer aggressive because you will never get what you don’t ask for. Don’t worry about insulting the seller as long as your offer isn’t ridiculous.</a:t>
            </a:r>
            <a:endParaRPr lang="en-US" sz="1200" dirty="0">
              <a:solidFill>
                <a:schemeClr val="tx2"/>
              </a:solidFill>
            </a:endParaRPr>
          </a:p>
        </p:txBody>
      </p:sp>
      <p:sp>
        <p:nvSpPr>
          <p:cNvPr id="8" name="Rectangle 7">
            <a:extLst>
              <a:ext uri="{FF2B5EF4-FFF2-40B4-BE49-F238E27FC236}">
                <a16:creationId xmlns:a16="http://schemas.microsoft.com/office/drawing/2014/main" id="{59370832-13D0-4E60-871E-40FEBA645DF3}"/>
              </a:ext>
            </a:extLst>
          </p:cNvPr>
          <p:cNvSpPr/>
          <p:nvPr/>
        </p:nvSpPr>
        <p:spPr>
          <a:xfrm>
            <a:off x="604835" y="3214885"/>
            <a:ext cx="2451873" cy="7653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Watch for clues</a:t>
            </a:r>
          </a:p>
        </p:txBody>
      </p:sp>
      <p:sp>
        <p:nvSpPr>
          <p:cNvPr id="9" name="Rectangle 8">
            <a:extLst>
              <a:ext uri="{FF2B5EF4-FFF2-40B4-BE49-F238E27FC236}">
                <a16:creationId xmlns:a16="http://schemas.microsoft.com/office/drawing/2014/main" id="{1C8D0B55-E23D-4373-9D72-802AE9674FBF}"/>
              </a:ext>
            </a:extLst>
          </p:cNvPr>
          <p:cNvSpPr/>
          <p:nvPr/>
        </p:nvSpPr>
        <p:spPr>
          <a:xfrm>
            <a:off x="3153542" y="3214885"/>
            <a:ext cx="8433621" cy="765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2"/>
                </a:solidFill>
              </a:rPr>
              <a:t>Watch for reactions to what you say through clues in speech patterns and body language. Though, be careful, the other party will often pretend to be unhappy about the offer even if that’s not the case.</a:t>
            </a:r>
            <a:endParaRPr lang="en-US" sz="1200" dirty="0">
              <a:solidFill>
                <a:schemeClr val="tx2"/>
              </a:solidFill>
            </a:endParaRPr>
          </a:p>
        </p:txBody>
      </p:sp>
      <p:sp>
        <p:nvSpPr>
          <p:cNvPr id="10" name="Rectangle 9">
            <a:extLst>
              <a:ext uri="{FF2B5EF4-FFF2-40B4-BE49-F238E27FC236}">
                <a16:creationId xmlns:a16="http://schemas.microsoft.com/office/drawing/2014/main" id="{24523FCB-B2E6-425F-B74B-5C18F43890B0}"/>
              </a:ext>
            </a:extLst>
          </p:cNvPr>
          <p:cNvSpPr/>
          <p:nvPr/>
        </p:nvSpPr>
        <p:spPr>
          <a:xfrm>
            <a:off x="604835" y="4052432"/>
            <a:ext cx="2451873" cy="7653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Practice patience</a:t>
            </a:r>
          </a:p>
        </p:txBody>
      </p:sp>
      <p:sp>
        <p:nvSpPr>
          <p:cNvPr id="11" name="Rectangle 10">
            <a:extLst>
              <a:ext uri="{FF2B5EF4-FFF2-40B4-BE49-F238E27FC236}">
                <a16:creationId xmlns:a16="http://schemas.microsoft.com/office/drawing/2014/main" id="{16B86A63-D939-4D60-8AC3-43D66878D262}"/>
              </a:ext>
            </a:extLst>
          </p:cNvPr>
          <p:cNvSpPr/>
          <p:nvPr/>
        </p:nvSpPr>
        <p:spPr>
          <a:xfrm>
            <a:off x="3153542" y="4052432"/>
            <a:ext cx="8433621" cy="765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2"/>
                </a:solidFill>
              </a:rPr>
              <a:t>Practice patience. Negotiations rarely bring instant gratification, which can be nerve-wracking, but do not let the other party sense your need to move quickly. If things seem to be at a standstill, consider suspending negotiations and express reluctance to continue. If the other party wants the deal, they will be concerned about whether you will return to the table and feel pressure to show movement.</a:t>
            </a:r>
            <a:endParaRPr lang="en-US" sz="1200" dirty="0">
              <a:solidFill>
                <a:schemeClr val="tx2"/>
              </a:solidFill>
            </a:endParaRPr>
          </a:p>
        </p:txBody>
      </p:sp>
      <p:sp>
        <p:nvSpPr>
          <p:cNvPr id="14" name="Rectangle 13">
            <a:extLst>
              <a:ext uri="{FF2B5EF4-FFF2-40B4-BE49-F238E27FC236}">
                <a16:creationId xmlns:a16="http://schemas.microsoft.com/office/drawing/2014/main" id="{91395577-A7EE-414D-9C46-A83181CBD694}"/>
              </a:ext>
            </a:extLst>
          </p:cNvPr>
          <p:cNvSpPr/>
          <p:nvPr/>
        </p:nvSpPr>
        <p:spPr>
          <a:xfrm>
            <a:off x="604835" y="4889979"/>
            <a:ext cx="2451873" cy="7653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on’t do 2 offers in a row</a:t>
            </a:r>
          </a:p>
        </p:txBody>
      </p:sp>
      <p:sp>
        <p:nvSpPr>
          <p:cNvPr id="15" name="Rectangle 14">
            <a:extLst>
              <a:ext uri="{FF2B5EF4-FFF2-40B4-BE49-F238E27FC236}">
                <a16:creationId xmlns:a16="http://schemas.microsoft.com/office/drawing/2014/main" id="{D8876590-47DF-4F13-BD2B-0806D14869DE}"/>
              </a:ext>
            </a:extLst>
          </p:cNvPr>
          <p:cNvSpPr/>
          <p:nvPr/>
        </p:nvSpPr>
        <p:spPr>
          <a:xfrm>
            <a:off x="3153542" y="4889979"/>
            <a:ext cx="8433621" cy="765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2"/>
                </a:solidFill>
              </a:rPr>
              <a:t>Never agree to follow your own offer with another. This is akin to negotiating with yourself and is a trap. If you were the last to make an offer, always insist on a counteroffer before allowing negotiations to continue.</a:t>
            </a:r>
            <a:endParaRPr lang="en-US" sz="1200" dirty="0">
              <a:solidFill>
                <a:schemeClr val="tx2"/>
              </a:solidFill>
            </a:endParaRPr>
          </a:p>
        </p:txBody>
      </p:sp>
      <p:sp>
        <p:nvSpPr>
          <p:cNvPr id="16" name="Rectangle 15">
            <a:extLst>
              <a:ext uri="{FF2B5EF4-FFF2-40B4-BE49-F238E27FC236}">
                <a16:creationId xmlns:a16="http://schemas.microsoft.com/office/drawing/2014/main" id="{560C50C9-2744-4F9E-B9BE-2505CB18ABF3}"/>
              </a:ext>
            </a:extLst>
          </p:cNvPr>
          <p:cNvSpPr/>
          <p:nvPr/>
        </p:nvSpPr>
        <p:spPr>
          <a:xfrm>
            <a:off x="604835" y="5727528"/>
            <a:ext cx="2451873" cy="7653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Go for the win-win</a:t>
            </a:r>
          </a:p>
        </p:txBody>
      </p:sp>
      <p:sp>
        <p:nvSpPr>
          <p:cNvPr id="17" name="Rectangle 16">
            <a:extLst>
              <a:ext uri="{FF2B5EF4-FFF2-40B4-BE49-F238E27FC236}">
                <a16:creationId xmlns:a16="http://schemas.microsoft.com/office/drawing/2014/main" id="{9CFE52E9-E381-4DA5-81E9-AE3823CC6ED3}"/>
              </a:ext>
            </a:extLst>
          </p:cNvPr>
          <p:cNvSpPr/>
          <p:nvPr/>
        </p:nvSpPr>
        <p:spPr>
          <a:xfrm>
            <a:off x="3153542" y="5727528"/>
            <a:ext cx="8433621" cy="765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2"/>
                </a:solidFill>
              </a:rPr>
              <a:t>Always try to visualize what the other party would consider an acceptable outcome as you formulate your next move. Try to address some of the other party’s priorities when developing your offers as long as doing so does not weaken your own position. Be prepared to give up some things in exchange for others you refuse to concede.</a:t>
            </a:r>
            <a:endParaRPr lang="en-US" sz="1200" dirty="0">
              <a:solidFill>
                <a:schemeClr val="tx2"/>
              </a:solidFill>
            </a:endParaRPr>
          </a:p>
        </p:txBody>
      </p:sp>
      <p:sp>
        <p:nvSpPr>
          <p:cNvPr id="18" name="TextBox 17">
            <a:extLst>
              <a:ext uri="{FF2B5EF4-FFF2-40B4-BE49-F238E27FC236}">
                <a16:creationId xmlns:a16="http://schemas.microsoft.com/office/drawing/2014/main" id="{B2CD0468-8455-4905-ACEC-2E403AF2B7E6}"/>
              </a:ext>
            </a:extLst>
          </p:cNvPr>
          <p:cNvSpPr txBox="1"/>
          <p:nvPr/>
        </p:nvSpPr>
        <p:spPr>
          <a:xfrm>
            <a:off x="383177" y="6592391"/>
            <a:ext cx="7019109" cy="230832"/>
          </a:xfrm>
          <a:prstGeom prst="rect">
            <a:avLst/>
          </a:prstGeom>
          <a:noFill/>
        </p:spPr>
        <p:txBody>
          <a:bodyPr wrap="square" rtlCol="0">
            <a:spAutoFit/>
          </a:bodyPr>
          <a:lstStyle/>
          <a:p>
            <a:r>
              <a:rPr lang="en-US" sz="900" i="1" dirty="0"/>
              <a:t>* Source: website Investmentbank.com, which we highly recommend</a:t>
            </a:r>
          </a:p>
        </p:txBody>
      </p:sp>
    </p:spTree>
    <p:extLst>
      <p:ext uri="{BB962C8B-B14F-4D97-AF65-F5344CB8AC3E}">
        <p14:creationId xmlns:p14="http://schemas.microsoft.com/office/powerpoint/2010/main" val="2450384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2" name="Chevron 10">
            <a:extLst>
              <a:ext uri="{FF2B5EF4-FFF2-40B4-BE49-F238E27FC236}">
                <a16:creationId xmlns:a16="http://schemas.microsoft.com/office/drawing/2014/main" id="{2043AC27-62F9-AB77-3FBA-180C51A67447}"/>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78092A53-7DB8-573C-437D-1F5CE88E1E79}"/>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1B81F604-31A2-37BA-D12C-53B34DBB9722}"/>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1152F04C-AA14-48CC-535D-F2419DB240D9}"/>
              </a:ext>
            </a:extLst>
          </p:cNvPr>
          <p:cNvSpPr/>
          <p:nvPr/>
        </p:nvSpPr>
        <p:spPr bwMode="auto">
          <a:xfrm>
            <a:off x="7822784"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336E1546-9855-A8EA-C236-35AB9CBA6BF3}"/>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11DF7730-C742-5BF9-0D91-553B44957B8E}"/>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E745E5EB-C077-2C7F-5856-4A286825076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AF533F68-52FB-3309-35EA-637C7D94BBD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AC1D0A47-D48E-F7F3-B4EE-EAC9057CE3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9DAD426C-9C79-5200-F0AE-1D15367512E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96033663-936D-8A3E-3770-D9DD360523C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5A410512-BB38-7F67-36E5-36DD510F042A}"/>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41FB9E5-BFAC-74B3-A8BC-F98D8F051218}"/>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8CA105C-B011-8AB3-854F-A33BB5034E99}"/>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BCE10D7-633F-CE7A-DC4F-4F0F7117C805}"/>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D6E1246-682A-A9CB-A170-F9F734C3837D}"/>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2156D40-347F-0102-F793-0BB805819CE1}"/>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770C856B-7A6F-CA8A-F178-EBF68BDFBAF8}"/>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331BB2FB-0296-522E-B092-846510E88CBD}"/>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AA3865FF-3C0B-3FE6-1B6C-664CE69F595D}"/>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31" name="Rectangle 30">
            <a:extLst>
              <a:ext uri="{FF2B5EF4-FFF2-40B4-BE49-F238E27FC236}">
                <a16:creationId xmlns:a16="http://schemas.microsoft.com/office/drawing/2014/main" id="{52909C4F-9ED6-42A9-F6D1-18AA5A789C40}"/>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B0F0"/>
                </a:solidFill>
              </a:rPr>
              <a:t>Signing and closing the M&amp;A deal</a:t>
            </a:r>
          </a:p>
        </p:txBody>
      </p:sp>
      <p:pic>
        <p:nvPicPr>
          <p:cNvPr id="32" name="Graphic 31" descr="Statistics outline">
            <a:extLst>
              <a:ext uri="{FF2B5EF4-FFF2-40B4-BE49-F238E27FC236}">
                <a16:creationId xmlns:a16="http://schemas.microsoft.com/office/drawing/2014/main" id="{9D44542B-9202-2EB8-B862-DAACA91C39D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3" name="Rectangle 32">
            <a:extLst>
              <a:ext uri="{FF2B5EF4-FFF2-40B4-BE49-F238E27FC236}">
                <a16:creationId xmlns:a16="http://schemas.microsoft.com/office/drawing/2014/main" id="{C98A445D-0106-2313-AECF-B091360A0486}"/>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3101466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GB" sz="2400" kern="0" dirty="0">
                <a:solidFill>
                  <a:srgbClr val="002776"/>
                </a:solidFill>
              </a:rPr>
              <a:t>Signing and closing the M&amp;A deal</a:t>
            </a:r>
            <a:br>
              <a:rPr lang="en-GB" sz="2400" kern="0" dirty="0">
                <a:solidFill>
                  <a:srgbClr val="002776"/>
                </a:solidFill>
              </a:rPr>
            </a:br>
            <a:r>
              <a:rPr lang="en-GB" sz="2000" b="0" kern="0" dirty="0">
                <a:solidFill>
                  <a:srgbClr val="002776"/>
                </a:solidFill>
              </a:rPr>
              <a:t>Overview</a:t>
            </a:r>
            <a:endParaRPr lang="en-GB" sz="2400" b="0" kern="0" dirty="0">
              <a:solidFill>
                <a:srgbClr val="002776"/>
              </a:solidFill>
            </a:endParaRPr>
          </a:p>
        </p:txBody>
      </p:sp>
      <p:sp>
        <p:nvSpPr>
          <p:cNvPr id="3" name="Text Placeholder 2">
            <a:extLst>
              <a:ext uri="{FF2B5EF4-FFF2-40B4-BE49-F238E27FC236}">
                <a16:creationId xmlns:a16="http://schemas.microsoft.com/office/drawing/2014/main" id="{6BE1B6B4-87AF-4A0F-9A81-38B388B86D24}"/>
              </a:ext>
            </a:extLst>
          </p:cNvPr>
          <p:cNvSpPr>
            <a:spLocks noGrp="1"/>
          </p:cNvSpPr>
          <p:nvPr>
            <p:ph type="body" sz="quarter" idx="10"/>
          </p:nvPr>
        </p:nvSpPr>
        <p:spPr>
          <a:xfrm>
            <a:off x="508001" y="1619828"/>
            <a:ext cx="11079163" cy="1924561"/>
          </a:xfrm>
        </p:spPr>
        <p:txBody>
          <a:bodyPr>
            <a:normAutofit/>
          </a:bodyPr>
          <a:lstStyle/>
          <a:p>
            <a:pPr>
              <a:lnSpc>
                <a:spcPct val="120000"/>
              </a:lnSpc>
              <a:spcBef>
                <a:spcPts val="300"/>
              </a:spcBef>
              <a:spcAft>
                <a:spcPts val="300"/>
              </a:spcAft>
            </a:pPr>
            <a:r>
              <a:rPr lang="en-GB" sz="1400" dirty="0"/>
              <a:t>For M&amp;A professionals, signing and closing are the most important milestones of a transaction. While buyers and advisors might be working on a multitude of deals at the same time, not all of them will be brought to completion. That can be due to a tough bidder competition or simply because the buyer and seller cannot align their expectations. However, signatures below an official purchase agreement represent the first crucial milestone, as the signed contract manifests the agreed-upon terms and conditions. Furthermore, it makes it rather difficult for either party to walk away from the deal. Although signing and closing can happen simultaneously, there is often a gap of multiple months in between.</a:t>
            </a:r>
            <a:endParaRPr lang="en-AU"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15</a:t>
            </a:fld>
            <a:endParaRPr lang="en-IN" dirty="0"/>
          </a:p>
        </p:txBody>
      </p:sp>
      <p:pic>
        <p:nvPicPr>
          <p:cNvPr id="5" name="Graphic 4" descr="Handshake">
            <a:extLst>
              <a:ext uri="{FF2B5EF4-FFF2-40B4-BE49-F238E27FC236}">
                <a16:creationId xmlns:a16="http://schemas.microsoft.com/office/drawing/2014/main" id="{1FF46138-EDF8-46E9-8269-CAD8B53844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92730" y="4195206"/>
            <a:ext cx="830035" cy="830035"/>
          </a:xfrm>
          <a:prstGeom prst="rect">
            <a:avLst/>
          </a:prstGeom>
        </p:spPr>
      </p:pic>
      <p:cxnSp>
        <p:nvCxnSpPr>
          <p:cNvPr id="7" name="Straight Arrow Connector 6">
            <a:extLst>
              <a:ext uri="{FF2B5EF4-FFF2-40B4-BE49-F238E27FC236}">
                <a16:creationId xmlns:a16="http://schemas.microsoft.com/office/drawing/2014/main" id="{B0685C61-C4F3-44E5-A79B-6ABAA7A9F649}"/>
              </a:ext>
            </a:extLst>
          </p:cNvPr>
          <p:cNvCxnSpPr>
            <a:cxnSpLocks/>
          </p:cNvCxnSpPr>
          <p:nvPr/>
        </p:nvCxnSpPr>
        <p:spPr>
          <a:xfrm>
            <a:off x="4005943" y="4610224"/>
            <a:ext cx="378823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9" name="Graphic 8" descr="Lock with solid fill">
            <a:extLst>
              <a:ext uri="{FF2B5EF4-FFF2-40B4-BE49-F238E27FC236}">
                <a16:creationId xmlns:a16="http://schemas.microsoft.com/office/drawing/2014/main" id="{E5A3DF7C-3698-4A06-93C9-94AB80F840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96626" y="4100132"/>
            <a:ext cx="925109" cy="925109"/>
          </a:xfrm>
          <a:prstGeom prst="rect">
            <a:avLst/>
          </a:prstGeom>
        </p:spPr>
      </p:pic>
      <p:sp>
        <p:nvSpPr>
          <p:cNvPr id="14" name="TextBox 13">
            <a:extLst>
              <a:ext uri="{FF2B5EF4-FFF2-40B4-BE49-F238E27FC236}">
                <a16:creationId xmlns:a16="http://schemas.microsoft.com/office/drawing/2014/main" id="{C569BF5D-FB64-4E7D-84D3-453A6417DD61}"/>
              </a:ext>
            </a:extLst>
          </p:cNvPr>
          <p:cNvSpPr txBox="1"/>
          <p:nvPr/>
        </p:nvSpPr>
        <p:spPr>
          <a:xfrm>
            <a:off x="2333897" y="3738752"/>
            <a:ext cx="1672046" cy="338554"/>
          </a:xfrm>
          <a:prstGeom prst="rect">
            <a:avLst/>
          </a:prstGeom>
          <a:noFill/>
        </p:spPr>
        <p:txBody>
          <a:bodyPr wrap="square" rtlCol="0">
            <a:spAutoFit/>
          </a:bodyPr>
          <a:lstStyle/>
          <a:p>
            <a:pPr algn="ctr"/>
            <a:r>
              <a:rPr lang="en-US" sz="1600" b="1" dirty="0"/>
              <a:t>Signing</a:t>
            </a:r>
          </a:p>
        </p:txBody>
      </p:sp>
      <p:sp>
        <p:nvSpPr>
          <p:cNvPr id="15" name="TextBox 14">
            <a:extLst>
              <a:ext uri="{FF2B5EF4-FFF2-40B4-BE49-F238E27FC236}">
                <a16:creationId xmlns:a16="http://schemas.microsoft.com/office/drawing/2014/main" id="{12058181-248B-477E-A50D-FC0EE7A82E5C}"/>
              </a:ext>
            </a:extLst>
          </p:cNvPr>
          <p:cNvSpPr txBox="1"/>
          <p:nvPr/>
        </p:nvSpPr>
        <p:spPr>
          <a:xfrm>
            <a:off x="7723157" y="3738752"/>
            <a:ext cx="1672046" cy="338554"/>
          </a:xfrm>
          <a:prstGeom prst="rect">
            <a:avLst/>
          </a:prstGeom>
          <a:noFill/>
        </p:spPr>
        <p:txBody>
          <a:bodyPr wrap="square" rtlCol="0">
            <a:spAutoFit/>
          </a:bodyPr>
          <a:lstStyle/>
          <a:p>
            <a:pPr algn="ctr"/>
            <a:r>
              <a:rPr lang="en-US" sz="1600" b="1" dirty="0"/>
              <a:t>Closing</a:t>
            </a:r>
          </a:p>
        </p:txBody>
      </p:sp>
      <p:sp>
        <p:nvSpPr>
          <p:cNvPr id="17" name="TextBox 16">
            <a:extLst>
              <a:ext uri="{FF2B5EF4-FFF2-40B4-BE49-F238E27FC236}">
                <a16:creationId xmlns:a16="http://schemas.microsoft.com/office/drawing/2014/main" id="{946E4F32-4BF9-433F-9E16-4D78B10CC152}"/>
              </a:ext>
            </a:extLst>
          </p:cNvPr>
          <p:cNvSpPr txBox="1"/>
          <p:nvPr/>
        </p:nvSpPr>
        <p:spPr>
          <a:xfrm>
            <a:off x="2333897" y="5016456"/>
            <a:ext cx="1672046" cy="523220"/>
          </a:xfrm>
          <a:prstGeom prst="rect">
            <a:avLst/>
          </a:prstGeom>
          <a:noFill/>
        </p:spPr>
        <p:txBody>
          <a:bodyPr wrap="square" rtlCol="0">
            <a:spAutoFit/>
          </a:bodyPr>
          <a:lstStyle/>
          <a:p>
            <a:pPr marL="182563" indent="-182563">
              <a:buFont typeface="Arial" panose="020B0604020202020204" pitchFamily="34" charset="0"/>
              <a:buChar char="•"/>
            </a:pPr>
            <a:r>
              <a:rPr lang="en-US" sz="1400" dirty="0"/>
              <a:t>Agreeing on the terms</a:t>
            </a:r>
          </a:p>
        </p:txBody>
      </p:sp>
      <p:sp>
        <p:nvSpPr>
          <p:cNvPr id="18" name="TextBox 17">
            <a:extLst>
              <a:ext uri="{FF2B5EF4-FFF2-40B4-BE49-F238E27FC236}">
                <a16:creationId xmlns:a16="http://schemas.microsoft.com/office/drawing/2014/main" id="{0D0E486E-6BC1-4733-BF3F-0F3E042A083F}"/>
              </a:ext>
            </a:extLst>
          </p:cNvPr>
          <p:cNvSpPr txBox="1"/>
          <p:nvPr/>
        </p:nvSpPr>
        <p:spPr>
          <a:xfrm>
            <a:off x="7417011" y="5032703"/>
            <a:ext cx="2465872" cy="1384995"/>
          </a:xfrm>
          <a:prstGeom prst="rect">
            <a:avLst/>
          </a:prstGeom>
          <a:noFill/>
        </p:spPr>
        <p:txBody>
          <a:bodyPr wrap="square" rtlCol="0">
            <a:spAutoFit/>
          </a:bodyPr>
          <a:lstStyle/>
          <a:p>
            <a:pPr marL="182563" indent="-182563">
              <a:buFont typeface="Arial" panose="020B0604020202020204" pitchFamily="34" charset="0"/>
              <a:buChar char="•"/>
            </a:pPr>
            <a:r>
              <a:rPr lang="en-US" sz="1400" dirty="0"/>
              <a:t>Completing the sale based on the agreed terms</a:t>
            </a:r>
          </a:p>
          <a:p>
            <a:pPr marL="182563" indent="-182563">
              <a:buFont typeface="Arial" panose="020B0604020202020204" pitchFamily="34" charset="0"/>
              <a:buChar char="•"/>
            </a:pPr>
            <a:r>
              <a:rPr lang="en-US" sz="1400" dirty="0"/>
              <a:t>Transferring the purchase price</a:t>
            </a:r>
          </a:p>
          <a:p>
            <a:pPr marL="182563" indent="-182563">
              <a:buFont typeface="Arial" panose="020B0604020202020204" pitchFamily="34" charset="0"/>
              <a:buChar char="•"/>
            </a:pPr>
            <a:r>
              <a:rPr lang="en-US" sz="1400" dirty="0"/>
              <a:t>Transfer of ownership</a:t>
            </a:r>
          </a:p>
          <a:p>
            <a:pPr algn="ctr"/>
            <a:endParaRPr lang="en-US" sz="1400" dirty="0"/>
          </a:p>
        </p:txBody>
      </p:sp>
      <p:sp>
        <p:nvSpPr>
          <p:cNvPr id="19" name="TextBox 18">
            <a:extLst>
              <a:ext uri="{FF2B5EF4-FFF2-40B4-BE49-F238E27FC236}">
                <a16:creationId xmlns:a16="http://schemas.microsoft.com/office/drawing/2014/main" id="{30846F37-1133-4905-88FD-215C2A0F1A79}"/>
              </a:ext>
            </a:extLst>
          </p:cNvPr>
          <p:cNvSpPr txBox="1"/>
          <p:nvPr/>
        </p:nvSpPr>
        <p:spPr>
          <a:xfrm>
            <a:off x="4746251" y="4362221"/>
            <a:ext cx="2298986" cy="261610"/>
          </a:xfrm>
          <a:prstGeom prst="rect">
            <a:avLst/>
          </a:prstGeom>
          <a:noFill/>
        </p:spPr>
        <p:txBody>
          <a:bodyPr wrap="square" rtlCol="0">
            <a:spAutoFit/>
          </a:bodyPr>
          <a:lstStyle/>
          <a:p>
            <a:pPr algn="ctr"/>
            <a:r>
              <a:rPr lang="en-US" sz="1100" dirty="0"/>
              <a:t>Closing conditions to be met</a:t>
            </a:r>
          </a:p>
        </p:txBody>
      </p:sp>
      <p:sp>
        <p:nvSpPr>
          <p:cNvPr id="20" name="TextBox 19">
            <a:extLst>
              <a:ext uri="{FF2B5EF4-FFF2-40B4-BE49-F238E27FC236}">
                <a16:creationId xmlns:a16="http://schemas.microsoft.com/office/drawing/2014/main" id="{A7332DE3-F0FA-4A90-BA1A-FA5487A39E9D}"/>
              </a:ext>
            </a:extLst>
          </p:cNvPr>
          <p:cNvSpPr txBox="1"/>
          <p:nvPr/>
        </p:nvSpPr>
        <p:spPr>
          <a:xfrm>
            <a:off x="383177" y="6592391"/>
            <a:ext cx="7019109" cy="230832"/>
          </a:xfrm>
          <a:prstGeom prst="rect">
            <a:avLst/>
          </a:prstGeom>
          <a:noFill/>
        </p:spPr>
        <p:txBody>
          <a:bodyPr wrap="square" rtlCol="0">
            <a:spAutoFit/>
          </a:bodyPr>
          <a:lstStyle/>
          <a:p>
            <a:r>
              <a:rPr lang="en-US" sz="900" i="1" dirty="0"/>
              <a:t>* Source: website merger-strategy.com, which we highly recommend</a:t>
            </a:r>
          </a:p>
        </p:txBody>
      </p:sp>
    </p:spTree>
    <p:extLst>
      <p:ext uri="{BB962C8B-B14F-4D97-AF65-F5344CB8AC3E}">
        <p14:creationId xmlns:p14="http://schemas.microsoft.com/office/powerpoint/2010/main" val="2165212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GB" sz="2400" kern="0" dirty="0">
                <a:solidFill>
                  <a:srgbClr val="002776"/>
                </a:solidFill>
              </a:rPr>
              <a:t>Signing and closing the M&amp;A deal</a:t>
            </a:r>
            <a:br>
              <a:rPr lang="en-GB" sz="2400" kern="0" dirty="0">
                <a:solidFill>
                  <a:srgbClr val="002776"/>
                </a:solidFill>
              </a:rPr>
            </a:br>
            <a:r>
              <a:rPr lang="en-GB" sz="2000" b="0" kern="0" dirty="0">
                <a:solidFill>
                  <a:srgbClr val="002776"/>
                </a:solidFill>
              </a:rPr>
              <a:t>Zoom on signing</a:t>
            </a:r>
            <a:endParaRPr lang="en-GB" sz="2400" b="0" kern="0" dirty="0">
              <a:solidFill>
                <a:srgbClr val="002776"/>
              </a:solidFill>
            </a:endParaRPr>
          </a:p>
        </p:txBody>
      </p:sp>
      <p:sp>
        <p:nvSpPr>
          <p:cNvPr id="3" name="Text Placeholder 2">
            <a:extLst>
              <a:ext uri="{FF2B5EF4-FFF2-40B4-BE49-F238E27FC236}">
                <a16:creationId xmlns:a16="http://schemas.microsoft.com/office/drawing/2014/main" id="{6BE1B6B4-87AF-4A0F-9A81-38B388B86D24}"/>
              </a:ext>
            </a:extLst>
          </p:cNvPr>
          <p:cNvSpPr>
            <a:spLocks noGrp="1"/>
          </p:cNvSpPr>
          <p:nvPr>
            <p:ph type="body" sz="quarter" idx="10"/>
          </p:nvPr>
        </p:nvSpPr>
        <p:spPr>
          <a:xfrm>
            <a:off x="508001" y="1619828"/>
            <a:ext cx="11079163" cy="2760583"/>
          </a:xfrm>
        </p:spPr>
        <p:txBody>
          <a:bodyPr>
            <a:normAutofit/>
          </a:bodyPr>
          <a:lstStyle/>
          <a:p>
            <a:pPr>
              <a:lnSpc>
                <a:spcPct val="120000"/>
              </a:lnSpc>
              <a:spcBef>
                <a:spcPts val="300"/>
              </a:spcBef>
              <a:spcAft>
                <a:spcPts val="300"/>
              </a:spcAft>
            </a:pPr>
            <a:r>
              <a:rPr lang="en-GB" sz="1400" dirty="0"/>
              <a:t>Signing relates to the process of contractually agreeing on the terms and conditions of a transaction.</a:t>
            </a:r>
          </a:p>
          <a:p>
            <a:pPr>
              <a:lnSpc>
                <a:spcPct val="120000"/>
              </a:lnSpc>
              <a:spcBef>
                <a:spcPts val="300"/>
              </a:spcBef>
              <a:spcAft>
                <a:spcPts val="300"/>
              </a:spcAft>
            </a:pPr>
            <a:endParaRPr lang="en-GB" sz="1400" dirty="0"/>
          </a:p>
          <a:p>
            <a:pPr>
              <a:lnSpc>
                <a:spcPct val="120000"/>
              </a:lnSpc>
              <a:spcBef>
                <a:spcPts val="300"/>
              </a:spcBef>
              <a:spcAft>
                <a:spcPts val="300"/>
              </a:spcAft>
            </a:pPr>
            <a:r>
              <a:rPr lang="en-GB" sz="1400" dirty="0"/>
              <a:t>The buyer and the seller will usually sign a written purchase agreement. The agreement sets forth the terms of the deal, as well as the rights and obligations that come along with the ownership transfer. The contract is referred to as an asset purchase agreement (“APA”) when the transaction object comprises assets. It is called a share purchase agreement (“SPA”) when shares of a company are involved.</a:t>
            </a:r>
          </a:p>
          <a:p>
            <a:pPr>
              <a:lnSpc>
                <a:spcPct val="120000"/>
              </a:lnSpc>
              <a:spcBef>
                <a:spcPts val="300"/>
              </a:spcBef>
              <a:spcAft>
                <a:spcPts val="300"/>
              </a:spcAft>
            </a:pPr>
            <a:endParaRPr lang="en-GB" sz="1400" dirty="0"/>
          </a:p>
          <a:p>
            <a:pPr>
              <a:lnSpc>
                <a:spcPct val="120000"/>
              </a:lnSpc>
              <a:spcBef>
                <a:spcPts val="300"/>
              </a:spcBef>
              <a:spcAft>
                <a:spcPts val="300"/>
              </a:spcAft>
            </a:pPr>
            <a:r>
              <a:rPr lang="en-GB" sz="1400" dirty="0"/>
              <a:t>The signing itself does not necessarily result in the actual transfer of ownership, as there might be certain conditions to be met. These so-called “closing conditions” are agreed upon in the purchase agreement and require </a:t>
            </a:r>
            <a:r>
              <a:rPr lang="en-GB" sz="1400" dirty="0" err="1"/>
              <a:t>fulfillment</a:t>
            </a:r>
            <a:r>
              <a:rPr lang="en-GB" sz="1400" dirty="0"/>
              <a:t> before the ownership rights are transferred from seller to buyer.</a:t>
            </a:r>
            <a:endParaRPr lang="en-AU"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16</a:t>
            </a:fld>
            <a:endParaRPr lang="en-IN" dirty="0"/>
          </a:p>
        </p:txBody>
      </p:sp>
    </p:spTree>
    <p:extLst>
      <p:ext uri="{BB962C8B-B14F-4D97-AF65-F5344CB8AC3E}">
        <p14:creationId xmlns:p14="http://schemas.microsoft.com/office/powerpoint/2010/main" val="4123660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GB" sz="2400" kern="0" dirty="0">
                <a:solidFill>
                  <a:srgbClr val="002776"/>
                </a:solidFill>
              </a:rPr>
              <a:t>Signing and closing the M&amp;A deal</a:t>
            </a:r>
            <a:br>
              <a:rPr lang="en-GB" sz="2400" kern="0" dirty="0">
                <a:solidFill>
                  <a:srgbClr val="002776"/>
                </a:solidFill>
              </a:rPr>
            </a:br>
            <a:r>
              <a:rPr lang="en-GB" sz="2000" b="0" kern="0" dirty="0">
                <a:solidFill>
                  <a:srgbClr val="002776"/>
                </a:solidFill>
              </a:rPr>
              <a:t>Zoom on closing</a:t>
            </a:r>
            <a:endParaRPr lang="en-GB" sz="2400" b="0" kern="0" dirty="0">
              <a:solidFill>
                <a:srgbClr val="002776"/>
              </a:solidFill>
            </a:endParaRPr>
          </a:p>
        </p:txBody>
      </p:sp>
      <p:sp>
        <p:nvSpPr>
          <p:cNvPr id="3" name="Text Placeholder 2">
            <a:extLst>
              <a:ext uri="{FF2B5EF4-FFF2-40B4-BE49-F238E27FC236}">
                <a16:creationId xmlns:a16="http://schemas.microsoft.com/office/drawing/2014/main" id="{6BE1B6B4-87AF-4A0F-9A81-38B388B86D24}"/>
              </a:ext>
            </a:extLst>
          </p:cNvPr>
          <p:cNvSpPr>
            <a:spLocks noGrp="1"/>
          </p:cNvSpPr>
          <p:nvPr>
            <p:ph type="body" sz="quarter" idx="10"/>
          </p:nvPr>
        </p:nvSpPr>
        <p:spPr>
          <a:xfrm>
            <a:off x="508001" y="1619828"/>
            <a:ext cx="11079163" cy="2760583"/>
          </a:xfrm>
        </p:spPr>
        <p:txBody>
          <a:bodyPr>
            <a:noAutofit/>
          </a:bodyPr>
          <a:lstStyle/>
          <a:p>
            <a:pPr>
              <a:lnSpc>
                <a:spcPct val="120000"/>
              </a:lnSpc>
              <a:spcBef>
                <a:spcPts val="300"/>
              </a:spcBef>
              <a:spcAft>
                <a:spcPts val="300"/>
              </a:spcAft>
            </a:pPr>
            <a:r>
              <a:rPr lang="en-GB" sz="1400" dirty="0"/>
              <a:t>Closing refers to the completion of a transaction and the transfer of ownership. It is the date from which the acquirer has actual control over the assets or the business.</a:t>
            </a:r>
          </a:p>
          <a:p>
            <a:pPr>
              <a:lnSpc>
                <a:spcPct val="120000"/>
              </a:lnSpc>
              <a:spcBef>
                <a:spcPts val="300"/>
              </a:spcBef>
              <a:spcAft>
                <a:spcPts val="300"/>
              </a:spcAft>
            </a:pPr>
            <a:endParaRPr lang="en-GB" sz="1400" dirty="0"/>
          </a:p>
          <a:p>
            <a:pPr>
              <a:lnSpc>
                <a:spcPct val="120000"/>
              </a:lnSpc>
              <a:spcBef>
                <a:spcPts val="300"/>
              </a:spcBef>
              <a:spcAft>
                <a:spcPts val="300"/>
              </a:spcAft>
            </a:pPr>
            <a:r>
              <a:rPr lang="en-GB" sz="1400" dirty="0"/>
              <a:t>Once a deal is signed, the parties involved need to undertake all actions that are required for a successful consummation of the deal. These conditions precedent are defined by both parties prior to signing and may rely on country-specific regulations. In many cases, the obtaining of an antitrust clearance is the sole – or at least most relevant – condition. All other non-legally required conditions are at the discretion of the buyer and seller and largely depend on their negotiation power. See below some examples of common closing conditions:</a:t>
            </a:r>
          </a:p>
          <a:p>
            <a:pPr marL="285750" indent="-198438">
              <a:lnSpc>
                <a:spcPct val="100000"/>
              </a:lnSpc>
              <a:spcBef>
                <a:spcPts val="200"/>
              </a:spcBef>
              <a:spcAft>
                <a:spcPts val="200"/>
              </a:spcAft>
              <a:buFont typeface="Arial" panose="020B0604020202020204" pitchFamily="34" charset="0"/>
              <a:buChar char="•"/>
            </a:pPr>
            <a:r>
              <a:rPr lang="en-GB" sz="1400" dirty="0"/>
              <a:t>Successful registration to the local trade register</a:t>
            </a:r>
          </a:p>
          <a:p>
            <a:pPr marL="285750" indent="-198438">
              <a:lnSpc>
                <a:spcPct val="100000"/>
              </a:lnSpc>
              <a:spcBef>
                <a:spcPts val="200"/>
              </a:spcBef>
              <a:spcAft>
                <a:spcPts val="200"/>
              </a:spcAft>
              <a:buFont typeface="Arial" panose="020B0604020202020204" pitchFamily="34" charset="0"/>
              <a:buChar char="•"/>
            </a:pPr>
            <a:r>
              <a:rPr lang="en-GB" sz="1400" dirty="0"/>
              <a:t>Approval obtained from other relevant shareholders</a:t>
            </a:r>
          </a:p>
          <a:p>
            <a:pPr marL="285750" indent="-198438">
              <a:lnSpc>
                <a:spcPct val="100000"/>
              </a:lnSpc>
              <a:spcBef>
                <a:spcPts val="200"/>
              </a:spcBef>
              <a:spcAft>
                <a:spcPts val="200"/>
              </a:spcAft>
              <a:buFont typeface="Arial" panose="020B0604020202020204" pitchFamily="34" charset="0"/>
              <a:buChar char="•"/>
            </a:pPr>
            <a:r>
              <a:rPr lang="en-GB" sz="1400" dirty="0"/>
              <a:t>The signing of side letters to the main agreement, e.g. employment agreements, non-compete agreements</a:t>
            </a:r>
          </a:p>
          <a:p>
            <a:pPr marL="285750" indent="-198438">
              <a:lnSpc>
                <a:spcPct val="100000"/>
              </a:lnSpc>
              <a:spcBef>
                <a:spcPts val="200"/>
              </a:spcBef>
              <a:spcAft>
                <a:spcPts val="200"/>
              </a:spcAft>
              <a:buFont typeface="Arial" panose="020B0604020202020204" pitchFamily="34" charset="0"/>
              <a:buChar char="•"/>
            </a:pPr>
            <a:r>
              <a:rPr lang="en-GB" sz="1400" dirty="0"/>
              <a:t>Absence of any litigations</a:t>
            </a:r>
          </a:p>
          <a:p>
            <a:pPr marL="285750" indent="-198438">
              <a:lnSpc>
                <a:spcPct val="100000"/>
              </a:lnSpc>
              <a:spcBef>
                <a:spcPts val="200"/>
              </a:spcBef>
              <a:spcAft>
                <a:spcPts val="200"/>
              </a:spcAft>
              <a:buFont typeface="Arial" panose="020B0604020202020204" pitchFamily="34" charset="0"/>
              <a:buChar char="•"/>
            </a:pPr>
            <a:r>
              <a:rPr lang="en-GB" sz="1400" dirty="0"/>
              <a:t>Consent of key customers (“waiver letters”) to maintain the cooperation with the new owner. Most large contracts include change-of-control clauses that allow an early termination in case the owner changes</a:t>
            </a:r>
          </a:p>
          <a:p>
            <a:pPr marL="285750" indent="-198438">
              <a:lnSpc>
                <a:spcPct val="100000"/>
              </a:lnSpc>
              <a:spcBef>
                <a:spcPts val="200"/>
              </a:spcBef>
              <a:spcAft>
                <a:spcPts val="200"/>
              </a:spcAft>
              <a:buFont typeface="Arial" panose="020B0604020202020204" pitchFamily="34" charset="0"/>
              <a:buChar char="•"/>
            </a:pPr>
            <a:r>
              <a:rPr lang="en-GB" sz="1400" dirty="0"/>
              <a:t>And finally, the delivery of the purchase price</a:t>
            </a:r>
          </a:p>
          <a:p>
            <a:pPr>
              <a:lnSpc>
                <a:spcPct val="120000"/>
              </a:lnSpc>
              <a:spcBef>
                <a:spcPts val="300"/>
              </a:spcBef>
              <a:spcAft>
                <a:spcPts val="300"/>
              </a:spcAft>
            </a:pPr>
            <a:endParaRPr lang="en-GB" sz="1400" dirty="0"/>
          </a:p>
          <a:p>
            <a:pPr>
              <a:lnSpc>
                <a:spcPct val="120000"/>
              </a:lnSpc>
              <a:spcBef>
                <a:spcPts val="300"/>
              </a:spcBef>
              <a:spcAft>
                <a:spcPts val="300"/>
              </a:spcAft>
            </a:pPr>
            <a:r>
              <a:rPr lang="en-GB" sz="1400" dirty="0"/>
              <a:t>Furthermore, the parties agree on a closing date either already in the purchase contract or shortly after signing when the date of the completion of all conditions is foreseeable. Usually, the purchase price comes due, only when all requirements are satisfied. This presupposes that the conditions are not deliberately unaccomplished by either of the parties.</a:t>
            </a:r>
            <a:endParaRPr lang="en-AU" sz="140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17</a:t>
            </a:fld>
            <a:endParaRPr lang="en-IN" dirty="0"/>
          </a:p>
        </p:txBody>
      </p:sp>
    </p:spTree>
    <p:extLst>
      <p:ext uri="{BB962C8B-B14F-4D97-AF65-F5344CB8AC3E}">
        <p14:creationId xmlns:p14="http://schemas.microsoft.com/office/powerpoint/2010/main" val="39652761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8</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focus on the 5th phase of our Mergers &amp; Acquisitions 6-phase approach</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2" name="Chevron 10">
            <a:extLst>
              <a:ext uri="{FF2B5EF4-FFF2-40B4-BE49-F238E27FC236}">
                <a16:creationId xmlns:a16="http://schemas.microsoft.com/office/drawing/2014/main" id="{B93F2CE6-FA48-402E-E1E5-A8E25DB7D4BC}"/>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93CF1918-ACC4-DE20-E0CF-1684AD8A8AFC}"/>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89317831-B6CC-1200-A09C-0E1D127F825E}"/>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B2D64E16-F980-8C99-FEDE-284D7DF65720}"/>
              </a:ext>
            </a:extLst>
          </p:cNvPr>
          <p:cNvSpPr/>
          <p:nvPr/>
        </p:nvSpPr>
        <p:spPr bwMode="auto">
          <a:xfrm>
            <a:off x="7822784"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634EB61E-9197-64F5-A7B0-60DB17B488A8}"/>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EB660DBB-BA9F-DD84-E202-17832C410733}"/>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8B04958A-D227-1A08-6AF4-224E2471274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C2446D38-4D44-7DCA-3916-B9B9F658ABB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2D3EABC7-3D2D-7F05-7E64-B509D45DC73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3777F20F-6258-A414-A2B3-9323777C18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176DCEAC-B9FB-6E3E-FCD2-25C5BBB2DA0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995BF0D6-E4D9-3B92-8996-26AC677DD6C8}"/>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02C82D-C082-6E00-1050-1BCFF0616CCD}"/>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1E985FC-5E7A-12CF-9DB2-C1AFD3BEB0AA}"/>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A6732FF-F102-0967-1294-B2A9872833E7}"/>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8969B05-6FDF-455F-DBE2-8876C3DECAAC}"/>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F1AE0BB-8778-2545-521A-7826F06656D0}"/>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CABD60D4-F11E-589F-8BAB-69D59534A4EF}"/>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8BAD5C04-3D07-EF49-612B-0E728E12A8DB}"/>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700DBA55-7340-5EBD-9B25-6D95424E661F}"/>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28" name="Rectangle 27">
            <a:extLst>
              <a:ext uri="{FF2B5EF4-FFF2-40B4-BE49-F238E27FC236}">
                <a16:creationId xmlns:a16="http://schemas.microsoft.com/office/drawing/2014/main" id="{6604A534-A339-8BBD-BDF8-4B1A6A5FF9D6}"/>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31" name="Graphic 30" descr="Statistics outline">
            <a:extLst>
              <a:ext uri="{FF2B5EF4-FFF2-40B4-BE49-F238E27FC236}">
                <a16:creationId xmlns:a16="http://schemas.microsoft.com/office/drawing/2014/main" id="{0AAE3804-71B6-43CE-F159-0C6DE23F2AC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2" name="Rectangle 31">
            <a:extLst>
              <a:ext uri="{FF2B5EF4-FFF2-40B4-BE49-F238E27FC236}">
                <a16:creationId xmlns:a16="http://schemas.microsoft.com/office/drawing/2014/main" id="{E3513DEC-A9C7-DA74-9014-AA48BA592DF1}"/>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1107780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1" y="365125"/>
            <a:ext cx="10469336"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GB" sz="240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2" name="Chevron 10">
            <a:extLst>
              <a:ext uri="{FF2B5EF4-FFF2-40B4-BE49-F238E27FC236}">
                <a16:creationId xmlns:a16="http://schemas.microsoft.com/office/drawing/2014/main" id="{2043AC27-62F9-AB77-3FBA-180C51A67447}"/>
              </a:ext>
            </a:extLst>
          </p:cNvPr>
          <p:cNvSpPr/>
          <p:nvPr/>
        </p:nvSpPr>
        <p:spPr bwMode="auto">
          <a:xfrm>
            <a:off x="2363718"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rtl="0" fontAlgn="base">
              <a:spcBef>
                <a:spcPts val="600"/>
              </a:spcBef>
              <a:spcAft>
                <a:spcPts val="600"/>
              </a:spcAft>
              <a:buClr>
                <a:srgbClr val="000000"/>
              </a:buClr>
            </a:pPr>
            <a:r>
              <a:rPr lang="en-US" sz="1200" b="1" kern="1200" dirty="0">
                <a:solidFill>
                  <a:schemeClr val="bg1"/>
                </a:solidFill>
                <a:ea typeface="+mn-ea"/>
                <a:cs typeface="Times New Roman" pitchFamily="18" charset="0"/>
              </a:rPr>
              <a:t>II. Identify Target </a:t>
            </a:r>
            <a:r>
              <a:rPr lang="en-US" sz="1200" b="1" dirty="0">
                <a:solidFill>
                  <a:schemeClr val="bg1"/>
                </a:solidFill>
                <a:cs typeface="Times New Roman" pitchFamily="18" charset="0"/>
              </a:rPr>
              <a:t>C</a:t>
            </a:r>
            <a:r>
              <a:rPr lang="en-US" sz="1200" b="1" kern="1200" dirty="0">
                <a:solidFill>
                  <a:schemeClr val="bg1"/>
                </a:solidFill>
                <a:ea typeface="+mn-ea"/>
                <a:cs typeface="Times New Roman" pitchFamily="18" charset="0"/>
              </a:rPr>
              <a:t>ompanies</a:t>
            </a:r>
          </a:p>
        </p:txBody>
      </p:sp>
      <p:sp>
        <p:nvSpPr>
          <p:cNvPr id="4" name="Chevron 12">
            <a:extLst>
              <a:ext uri="{FF2B5EF4-FFF2-40B4-BE49-F238E27FC236}">
                <a16:creationId xmlns:a16="http://schemas.microsoft.com/office/drawing/2014/main" id="{78092A53-7DB8-573C-437D-1F5CE88E1E79}"/>
              </a:ext>
            </a:extLst>
          </p:cNvPr>
          <p:cNvSpPr/>
          <p:nvPr/>
        </p:nvSpPr>
        <p:spPr bwMode="auto">
          <a:xfrm>
            <a:off x="4183407"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II. Build a Business Case and an M&amp;A Financial Model</a:t>
            </a:r>
          </a:p>
        </p:txBody>
      </p:sp>
      <p:sp>
        <p:nvSpPr>
          <p:cNvPr id="5" name="Chevron 14">
            <a:extLst>
              <a:ext uri="{FF2B5EF4-FFF2-40B4-BE49-F238E27FC236}">
                <a16:creationId xmlns:a16="http://schemas.microsoft.com/office/drawing/2014/main" id="{1B81F604-31A2-37BA-D12C-53B34DBB9722}"/>
              </a:ext>
            </a:extLst>
          </p:cNvPr>
          <p:cNvSpPr/>
          <p:nvPr/>
        </p:nvSpPr>
        <p:spPr bwMode="auto">
          <a:xfrm>
            <a:off x="6003095"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V. Conduct Due Diligence</a:t>
            </a:r>
          </a:p>
        </p:txBody>
      </p:sp>
      <p:sp>
        <p:nvSpPr>
          <p:cNvPr id="6" name="Chevron 17">
            <a:extLst>
              <a:ext uri="{FF2B5EF4-FFF2-40B4-BE49-F238E27FC236}">
                <a16:creationId xmlns:a16="http://schemas.microsoft.com/office/drawing/2014/main" id="{1152F04C-AA14-48CC-535D-F2419DB240D9}"/>
              </a:ext>
            </a:extLst>
          </p:cNvPr>
          <p:cNvSpPr/>
          <p:nvPr/>
        </p:nvSpPr>
        <p:spPr bwMode="auto">
          <a:xfrm>
            <a:off x="7822784" y="2067591"/>
            <a:ext cx="2005499" cy="720000"/>
          </a:xfrm>
          <a:prstGeom prst="chevron">
            <a:avLst>
              <a:gd name="adj" fmla="val 31818"/>
            </a:avLst>
          </a:prstGeom>
          <a:solidFill>
            <a:srgbClr val="00B0F0"/>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 Execute Transaction</a:t>
            </a:r>
          </a:p>
        </p:txBody>
      </p:sp>
      <p:sp>
        <p:nvSpPr>
          <p:cNvPr id="7" name="Chevron 103">
            <a:extLst>
              <a:ext uri="{FF2B5EF4-FFF2-40B4-BE49-F238E27FC236}">
                <a16:creationId xmlns:a16="http://schemas.microsoft.com/office/drawing/2014/main" id="{336E1546-9855-A8EA-C236-35AB9CBA6BF3}"/>
              </a:ext>
            </a:extLst>
          </p:cNvPr>
          <p:cNvSpPr/>
          <p:nvPr/>
        </p:nvSpPr>
        <p:spPr bwMode="auto">
          <a:xfrm>
            <a:off x="9642473" y="2067591"/>
            <a:ext cx="2005499" cy="720000"/>
          </a:xfrm>
          <a:prstGeom prst="chevron">
            <a:avLst>
              <a:gd name="adj" fmla="val 31818"/>
            </a:avLst>
          </a:prstGeom>
          <a:solidFill>
            <a:schemeClr val="tx1"/>
          </a:solidFill>
          <a:ln>
            <a:noFill/>
          </a:ln>
          <a:effectLst/>
        </p:spPr>
        <p:txBody>
          <a:bodyPr wrap="square" lIns="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VI. Conduct the Post Merger Integration</a:t>
            </a:r>
            <a:endParaRPr lang="en-US" sz="1200" b="1" kern="1200" dirty="0">
              <a:solidFill>
                <a:schemeClr val="bg1"/>
              </a:solidFill>
              <a:cs typeface="Times New Roman" pitchFamily="18" charset="0"/>
            </a:endParaRPr>
          </a:p>
        </p:txBody>
      </p:sp>
      <p:sp>
        <p:nvSpPr>
          <p:cNvPr id="8" name="Chevron 167">
            <a:extLst>
              <a:ext uri="{FF2B5EF4-FFF2-40B4-BE49-F238E27FC236}">
                <a16:creationId xmlns:a16="http://schemas.microsoft.com/office/drawing/2014/main" id="{11DF7730-C742-5BF9-0D91-553B44957B8E}"/>
              </a:ext>
            </a:extLst>
          </p:cNvPr>
          <p:cNvSpPr/>
          <p:nvPr/>
        </p:nvSpPr>
        <p:spPr bwMode="auto">
          <a:xfrm>
            <a:off x="544029" y="2067591"/>
            <a:ext cx="2005499" cy="720000"/>
          </a:xfrm>
          <a:prstGeom prst="chevron">
            <a:avLst>
              <a:gd name="adj" fmla="val 31818"/>
            </a:avLst>
          </a:prstGeom>
          <a:solidFill>
            <a:schemeClr val="tx1"/>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sz="1200" b="1" dirty="0">
                <a:solidFill>
                  <a:schemeClr val="bg1"/>
                </a:solidFill>
                <a:cs typeface="Times New Roman" pitchFamily="18" charset="0"/>
              </a:rPr>
              <a:t>I. Define your M&amp;A Strategy</a:t>
            </a:r>
          </a:p>
        </p:txBody>
      </p:sp>
      <p:pic>
        <p:nvPicPr>
          <p:cNvPr id="9" name="Graphic 8" descr="Checklist">
            <a:extLst>
              <a:ext uri="{FF2B5EF4-FFF2-40B4-BE49-F238E27FC236}">
                <a16:creationId xmlns:a16="http://schemas.microsoft.com/office/drawing/2014/main" id="{E745E5EB-C077-2C7F-5856-4A286825076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3233" y="1549950"/>
            <a:ext cx="485912" cy="485912"/>
          </a:xfrm>
          <a:prstGeom prst="rect">
            <a:avLst/>
          </a:prstGeom>
        </p:spPr>
      </p:pic>
      <p:pic>
        <p:nvPicPr>
          <p:cNvPr id="10" name="Graphic 9" descr="Handshake">
            <a:extLst>
              <a:ext uri="{FF2B5EF4-FFF2-40B4-BE49-F238E27FC236}">
                <a16:creationId xmlns:a16="http://schemas.microsoft.com/office/drawing/2014/main" id="{AF533F68-52FB-3309-35EA-637C7D94BBD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9096" y="1508321"/>
            <a:ext cx="521870" cy="521870"/>
          </a:xfrm>
          <a:prstGeom prst="rect">
            <a:avLst/>
          </a:prstGeom>
        </p:spPr>
      </p:pic>
      <p:pic>
        <p:nvPicPr>
          <p:cNvPr id="11" name="Graphic 10" descr="Magnifying glass">
            <a:extLst>
              <a:ext uri="{FF2B5EF4-FFF2-40B4-BE49-F238E27FC236}">
                <a16:creationId xmlns:a16="http://schemas.microsoft.com/office/drawing/2014/main" id="{AC1D0A47-D48E-F7F3-B4EE-EAC9057CE3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23220" y="1593612"/>
            <a:ext cx="391754" cy="391754"/>
          </a:xfrm>
          <a:prstGeom prst="rect">
            <a:avLst/>
          </a:prstGeom>
        </p:spPr>
      </p:pic>
      <p:pic>
        <p:nvPicPr>
          <p:cNvPr id="12" name="Graphic 11" descr="Map compass">
            <a:extLst>
              <a:ext uri="{FF2B5EF4-FFF2-40B4-BE49-F238E27FC236}">
                <a16:creationId xmlns:a16="http://schemas.microsoft.com/office/drawing/2014/main" id="{9DAD426C-9C79-5200-F0AE-1D15367512E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2609" y="1558446"/>
            <a:ext cx="485912" cy="485912"/>
          </a:xfrm>
          <a:prstGeom prst="rect">
            <a:avLst/>
          </a:prstGeom>
        </p:spPr>
      </p:pic>
      <p:pic>
        <p:nvPicPr>
          <p:cNvPr id="14" name="Graphic 13" descr="Gears">
            <a:extLst>
              <a:ext uri="{FF2B5EF4-FFF2-40B4-BE49-F238E27FC236}">
                <a16:creationId xmlns:a16="http://schemas.microsoft.com/office/drawing/2014/main" id="{96033663-936D-8A3E-3770-D9DD360523C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50982" y="1526124"/>
            <a:ext cx="521870" cy="521870"/>
          </a:xfrm>
          <a:prstGeom prst="rect">
            <a:avLst/>
          </a:prstGeom>
        </p:spPr>
      </p:pic>
      <p:cxnSp>
        <p:nvCxnSpPr>
          <p:cNvPr id="15" name="Straight Connector 14">
            <a:extLst>
              <a:ext uri="{FF2B5EF4-FFF2-40B4-BE49-F238E27FC236}">
                <a16:creationId xmlns:a16="http://schemas.microsoft.com/office/drawing/2014/main" id="{5A410512-BB38-7F67-36E5-36DD510F042A}"/>
              </a:ext>
            </a:extLst>
          </p:cNvPr>
          <p:cNvCxnSpPr>
            <a:cxnSpLocks/>
          </p:cNvCxnSpPr>
          <p:nvPr/>
        </p:nvCxnSpPr>
        <p:spPr>
          <a:xfrm>
            <a:off x="2319474"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41FB9E5-BFAC-74B3-A8BC-F98D8F051218}"/>
              </a:ext>
            </a:extLst>
          </p:cNvPr>
          <p:cNvCxnSpPr>
            <a:cxnSpLocks/>
          </p:cNvCxnSpPr>
          <p:nvPr/>
        </p:nvCxnSpPr>
        <p:spPr>
          <a:xfrm>
            <a:off x="417263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8CA105C-B011-8AB3-854F-A33BB5034E99}"/>
              </a:ext>
            </a:extLst>
          </p:cNvPr>
          <p:cNvCxnSpPr>
            <a:cxnSpLocks/>
          </p:cNvCxnSpPr>
          <p:nvPr/>
        </p:nvCxnSpPr>
        <p:spPr>
          <a:xfrm>
            <a:off x="5958851"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BCE10D7-633F-CE7A-DC4F-4F0F7117C805}"/>
              </a:ext>
            </a:extLst>
          </p:cNvPr>
          <p:cNvCxnSpPr>
            <a:cxnSpLocks/>
          </p:cNvCxnSpPr>
          <p:nvPr/>
        </p:nvCxnSpPr>
        <p:spPr>
          <a:xfrm>
            <a:off x="7767769"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D6E1246-682A-A9CB-A170-F9F734C3837D}"/>
              </a:ext>
            </a:extLst>
          </p:cNvPr>
          <p:cNvCxnSpPr>
            <a:cxnSpLocks/>
          </p:cNvCxnSpPr>
          <p:nvPr/>
        </p:nvCxnSpPr>
        <p:spPr>
          <a:xfrm>
            <a:off x="9608346" y="2808302"/>
            <a:ext cx="0" cy="370800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2156D40-347F-0102-F793-0BB805819CE1}"/>
              </a:ext>
            </a:extLst>
          </p:cNvPr>
          <p:cNvSpPr/>
          <p:nvPr/>
        </p:nvSpPr>
        <p:spPr>
          <a:xfrm>
            <a:off x="559312" y="2792816"/>
            <a:ext cx="1711407" cy="2821285"/>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Company mission, vision and values</a:t>
            </a:r>
          </a:p>
          <a:p>
            <a:pPr marL="169863" indent="-169863">
              <a:spcBef>
                <a:spcPts val="400"/>
              </a:spcBef>
              <a:spcAft>
                <a:spcPts val="400"/>
              </a:spcAft>
              <a:buFont typeface="+mj-lt"/>
              <a:buAutoNum type="arabicPeriod"/>
              <a:defRPr/>
            </a:pPr>
            <a:r>
              <a:rPr lang="en-GB" sz="1200" dirty="0">
                <a:solidFill>
                  <a:srgbClr val="002776"/>
                </a:solidFill>
              </a:rPr>
              <a:t>M&amp;A strategic objectives and key performance indicators</a:t>
            </a:r>
          </a:p>
          <a:p>
            <a:pPr marL="169863" indent="-169863">
              <a:spcBef>
                <a:spcPts val="400"/>
              </a:spcBef>
              <a:spcAft>
                <a:spcPts val="400"/>
              </a:spcAft>
              <a:buFont typeface="+mj-lt"/>
              <a:buAutoNum type="arabicPeriod"/>
              <a:defRPr/>
            </a:pPr>
            <a:r>
              <a:rPr lang="en-GB" sz="1200" dirty="0">
                <a:solidFill>
                  <a:srgbClr val="002776"/>
                </a:solidFill>
              </a:rPr>
              <a:t>M&amp;A team</a:t>
            </a:r>
          </a:p>
          <a:p>
            <a:pPr marL="169863" indent="-169863">
              <a:spcBef>
                <a:spcPts val="400"/>
              </a:spcBef>
              <a:spcAft>
                <a:spcPts val="400"/>
              </a:spcAft>
              <a:buFont typeface="+mj-lt"/>
              <a:buAutoNum type="arabicPeriod"/>
              <a:defRPr/>
            </a:pPr>
            <a:r>
              <a:rPr lang="en-GB" sz="1200" dirty="0">
                <a:solidFill>
                  <a:srgbClr val="002776"/>
                </a:solidFill>
              </a:rPr>
              <a:t>M&amp;A guiding principles</a:t>
            </a:r>
          </a:p>
          <a:p>
            <a:pPr marL="169863" indent="-169863">
              <a:spcBef>
                <a:spcPts val="400"/>
              </a:spcBef>
              <a:spcAft>
                <a:spcPts val="400"/>
              </a:spcAft>
              <a:buFont typeface="+mj-lt"/>
              <a:buAutoNum type="arabicPeriod"/>
              <a:defRPr/>
            </a:pPr>
            <a:r>
              <a:rPr lang="en-GB" sz="1200" dirty="0">
                <a:solidFill>
                  <a:srgbClr val="002776"/>
                </a:solidFill>
              </a:rPr>
              <a:t>Target screening criteria</a:t>
            </a:r>
          </a:p>
          <a:p>
            <a:pPr>
              <a:spcBef>
                <a:spcPts val="400"/>
              </a:spcBef>
              <a:spcAft>
                <a:spcPts val="400"/>
              </a:spcAft>
              <a:defRPr/>
            </a:pPr>
            <a:endParaRPr lang="en-US" sz="1200" dirty="0">
              <a:solidFill>
                <a:srgbClr val="002776"/>
              </a:solidFill>
            </a:endParaRPr>
          </a:p>
        </p:txBody>
      </p:sp>
      <p:sp>
        <p:nvSpPr>
          <p:cNvPr id="22" name="Rectangle 21">
            <a:extLst>
              <a:ext uri="{FF2B5EF4-FFF2-40B4-BE49-F238E27FC236}">
                <a16:creationId xmlns:a16="http://schemas.microsoft.com/office/drawing/2014/main" id="{770C856B-7A6F-CA8A-F178-EBF68BDFBAF8}"/>
              </a:ext>
            </a:extLst>
          </p:cNvPr>
          <p:cNvSpPr/>
          <p:nvPr/>
        </p:nvSpPr>
        <p:spPr>
          <a:xfrm>
            <a:off x="9633443" y="2792816"/>
            <a:ext cx="2124270" cy="3836948"/>
          </a:xfrm>
          <a:prstGeom prst="rect">
            <a:avLst/>
          </a:prstGeom>
          <a:effectLst/>
        </p:spPr>
        <p:txBody>
          <a:bodyPr wrap="square" lIns="0">
            <a:spAutoFit/>
          </a:bodyPr>
          <a:lstStyle/>
          <a:p>
            <a:pPr marL="169863" indent="-169863">
              <a:spcBef>
                <a:spcPts val="100"/>
              </a:spcBef>
              <a:spcAft>
                <a:spcPts val="100"/>
              </a:spcAft>
              <a:buFont typeface="+mj-lt"/>
              <a:buAutoNum type="arabicPeriod"/>
              <a:defRPr/>
            </a:pPr>
            <a:r>
              <a:rPr lang="en-GB" sz="1200" dirty="0">
                <a:solidFill>
                  <a:srgbClr val="002776"/>
                </a:solidFill>
              </a:rPr>
              <a:t>Post merger integration strategy &amp; high-level plan: Strategic objectives, integration management office, guiding principles, high-level plan, organizational structure, top management appointment, synergies, integration &amp; synergy initiatives, business cases and financial models</a:t>
            </a:r>
          </a:p>
          <a:p>
            <a:pPr marL="169863" indent="-169863">
              <a:spcBef>
                <a:spcPts val="100"/>
              </a:spcBef>
              <a:spcAft>
                <a:spcPts val="100"/>
              </a:spcAft>
              <a:buFont typeface="+mj-lt"/>
              <a:buAutoNum type="arabicPeriod"/>
              <a:defRPr/>
            </a:pPr>
            <a:r>
              <a:rPr lang="en-GB" sz="1200" dirty="0">
                <a:solidFill>
                  <a:srgbClr val="002776"/>
                </a:solidFill>
              </a:rPr>
              <a:t>Post merger integration detailed plans: </a:t>
            </a:r>
            <a:r>
              <a:rPr lang="en-US" sz="1200" dirty="0">
                <a:solidFill>
                  <a:srgbClr val="002776"/>
                </a:solidFill>
              </a:rPr>
              <a:t>Detailed integration plan including the day 1 readiness checklist, integration &amp; synergy initiatives plan, etc.</a:t>
            </a:r>
            <a:endParaRPr lang="en-GB" sz="1200" dirty="0">
              <a:solidFill>
                <a:srgbClr val="002776"/>
              </a:solidFill>
            </a:endParaRPr>
          </a:p>
          <a:p>
            <a:pPr marL="169863" indent="-169863">
              <a:spcBef>
                <a:spcPts val="100"/>
              </a:spcBef>
              <a:spcAft>
                <a:spcPts val="100"/>
              </a:spcAft>
              <a:buFont typeface="+mj-lt"/>
              <a:buAutoNum type="arabicPeriod"/>
              <a:defRPr/>
            </a:pPr>
            <a:r>
              <a:rPr lang="en-US" sz="1200" dirty="0">
                <a:solidFill>
                  <a:srgbClr val="002776"/>
                </a:solidFill>
              </a:rPr>
              <a:t>Implementation and monitoring</a:t>
            </a:r>
          </a:p>
        </p:txBody>
      </p:sp>
      <p:sp>
        <p:nvSpPr>
          <p:cNvPr id="24" name="Rectangle 23">
            <a:extLst>
              <a:ext uri="{FF2B5EF4-FFF2-40B4-BE49-F238E27FC236}">
                <a16:creationId xmlns:a16="http://schemas.microsoft.com/office/drawing/2014/main" id="{331BB2FB-0296-522E-B092-846510E88CBD}"/>
              </a:ext>
            </a:extLst>
          </p:cNvPr>
          <p:cNvSpPr/>
          <p:nvPr/>
        </p:nvSpPr>
        <p:spPr>
          <a:xfrm>
            <a:off x="2396645" y="2792816"/>
            <a:ext cx="1711407" cy="385746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200" dirty="0">
                <a:solidFill>
                  <a:srgbClr val="002776"/>
                </a:solidFill>
              </a:rPr>
              <a:t>Potential target companies and data collection</a:t>
            </a:r>
          </a:p>
          <a:p>
            <a:pPr marL="169863" indent="-169863">
              <a:spcBef>
                <a:spcPts val="200"/>
              </a:spcBef>
              <a:spcAft>
                <a:spcPts val="200"/>
              </a:spcAft>
              <a:buFont typeface="+mj-lt"/>
              <a:buAutoNum type="arabicPeriod"/>
              <a:defRPr/>
            </a:pPr>
            <a:r>
              <a:rPr lang="en-GB" sz="1200" dirty="0">
                <a:solidFill>
                  <a:srgbClr val="002776"/>
                </a:solidFill>
              </a:rPr>
              <a:t>High-level assessment of potential target companies</a:t>
            </a:r>
          </a:p>
          <a:p>
            <a:pPr marL="169863" indent="-169863">
              <a:spcBef>
                <a:spcPts val="200"/>
              </a:spcBef>
              <a:spcAft>
                <a:spcPts val="200"/>
              </a:spcAft>
              <a:buFont typeface="+mj-lt"/>
              <a:buAutoNum type="arabicPeriod"/>
              <a:defRPr/>
            </a:pPr>
            <a:r>
              <a:rPr lang="en-GB" sz="1200" dirty="0">
                <a:solidFill>
                  <a:srgbClr val="002776"/>
                </a:solidFill>
              </a:rPr>
              <a:t>Shortlisted potential targets</a:t>
            </a:r>
          </a:p>
          <a:p>
            <a:pPr marL="169863" indent="-169863">
              <a:spcBef>
                <a:spcPts val="200"/>
              </a:spcBef>
              <a:spcAft>
                <a:spcPts val="200"/>
              </a:spcAft>
              <a:buFont typeface="+mj-lt"/>
              <a:buAutoNum type="arabicPeriod"/>
              <a:defRPr/>
            </a:pPr>
            <a:r>
              <a:rPr lang="en-GB" sz="1200" dirty="0">
                <a:solidFill>
                  <a:srgbClr val="002776"/>
                </a:solidFill>
              </a:rPr>
              <a:t>Financial statements analysis</a:t>
            </a:r>
          </a:p>
          <a:p>
            <a:pPr marL="169863" indent="-169863">
              <a:spcBef>
                <a:spcPts val="200"/>
              </a:spcBef>
              <a:spcAft>
                <a:spcPts val="200"/>
              </a:spcAft>
              <a:buFont typeface="+mj-lt"/>
              <a:buAutoNum type="arabicPeriod"/>
              <a:defRPr/>
            </a:pPr>
            <a:r>
              <a:rPr lang="en-GB" sz="1200" dirty="0">
                <a:solidFill>
                  <a:srgbClr val="002776"/>
                </a:solidFill>
              </a:rPr>
              <a:t>Valuation: DCF model, comparable company analysis, and precedent transaction analysis</a:t>
            </a:r>
          </a:p>
          <a:p>
            <a:pPr marL="169863" indent="-169863">
              <a:spcBef>
                <a:spcPts val="200"/>
              </a:spcBef>
              <a:spcAft>
                <a:spcPts val="200"/>
              </a:spcAft>
              <a:buFont typeface="+mj-lt"/>
              <a:buAutoNum type="arabicPeriod"/>
              <a:defRPr/>
            </a:pPr>
            <a:r>
              <a:rPr lang="en-GB" sz="1200" dirty="0">
                <a:solidFill>
                  <a:srgbClr val="002776"/>
                </a:solidFill>
              </a:rPr>
              <a:t>Targets approved for the business case phase</a:t>
            </a:r>
          </a:p>
        </p:txBody>
      </p:sp>
      <p:sp>
        <p:nvSpPr>
          <p:cNvPr id="25" name="Rectangle 24">
            <a:extLst>
              <a:ext uri="{FF2B5EF4-FFF2-40B4-BE49-F238E27FC236}">
                <a16:creationId xmlns:a16="http://schemas.microsoft.com/office/drawing/2014/main" id="{AA3865FF-3C0B-3FE6-1B6C-664CE69F595D}"/>
              </a:ext>
            </a:extLst>
          </p:cNvPr>
          <p:cNvSpPr/>
          <p:nvPr/>
        </p:nvSpPr>
        <p:spPr>
          <a:xfrm>
            <a:off x="6019837" y="2792816"/>
            <a:ext cx="1711407" cy="3170099"/>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2776"/>
                </a:solidFill>
              </a:rPr>
              <a:t>Work plan including key business case hypotheses &amp; assumptions</a:t>
            </a:r>
          </a:p>
          <a:p>
            <a:pPr marL="169863" indent="-169863">
              <a:spcBef>
                <a:spcPts val="400"/>
              </a:spcBef>
              <a:spcAft>
                <a:spcPts val="400"/>
              </a:spcAft>
              <a:buFont typeface="+mj-lt"/>
              <a:buAutoNum type="arabicPeriod"/>
              <a:defRPr/>
            </a:pPr>
            <a:r>
              <a:rPr lang="en-GB" sz="1200" dirty="0">
                <a:solidFill>
                  <a:srgbClr val="002776"/>
                </a:solidFill>
              </a:rPr>
              <a:t>Due diligence to validate key hypotheses and assumptions</a:t>
            </a:r>
          </a:p>
          <a:p>
            <a:pPr marL="169863" indent="-169863">
              <a:spcBef>
                <a:spcPts val="400"/>
              </a:spcBef>
              <a:spcAft>
                <a:spcPts val="400"/>
              </a:spcAft>
              <a:buFont typeface="+mj-lt"/>
              <a:buAutoNum type="arabicPeriod"/>
              <a:defRPr/>
            </a:pPr>
            <a:r>
              <a:rPr lang="en-GB" sz="1200" dirty="0">
                <a:solidFill>
                  <a:srgbClr val="002776"/>
                </a:solidFill>
              </a:rPr>
              <a:t>Updated business valuation</a:t>
            </a:r>
          </a:p>
          <a:p>
            <a:pPr marL="169863" indent="-169863">
              <a:spcBef>
                <a:spcPts val="400"/>
              </a:spcBef>
              <a:spcAft>
                <a:spcPts val="400"/>
              </a:spcAft>
              <a:buFont typeface="+mj-lt"/>
              <a:buAutoNum type="arabicPeriod"/>
              <a:defRPr/>
            </a:pPr>
            <a:r>
              <a:rPr lang="en-GB" sz="1200" dirty="0">
                <a:solidFill>
                  <a:srgbClr val="002776"/>
                </a:solidFill>
              </a:rPr>
              <a:t>Recommendation to make (or not) a formal offer to acquire the target company</a:t>
            </a:r>
          </a:p>
        </p:txBody>
      </p:sp>
      <p:sp>
        <p:nvSpPr>
          <p:cNvPr id="31" name="Rectangle 30">
            <a:extLst>
              <a:ext uri="{FF2B5EF4-FFF2-40B4-BE49-F238E27FC236}">
                <a16:creationId xmlns:a16="http://schemas.microsoft.com/office/drawing/2014/main" id="{52909C4F-9ED6-42A9-F6D1-18AA5A789C40}"/>
              </a:ext>
            </a:extLst>
          </p:cNvPr>
          <p:cNvSpPr/>
          <p:nvPr/>
        </p:nvSpPr>
        <p:spPr>
          <a:xfrm>
            <a:off x="7850363" y="2792816"/>
            <a:ext cx="1711407" cy="1036181"/>
          </a:xfrm>
          <a:prstGeom prst="rect">
            <a:avLst/>
          </a:prstGeom>
          <a:effectLst/>
        </p:spPr>
        <p:txBody>
          <a:bodyPr wrap="square" lIns="0">
            <a:spAutoFit/>
          </a:bodyPr>
          <a:lstStyle/>
          <a:p>
            <a:pPr marL="169863" indent="-169863">
              <a:spcBef>
                <a:spcPts val="400"/>
              </a:spcBef>
              <a:spcAft>
                <a:spcPts val="400"/>
              </a:spcAft>
              <a:buFont typeface="+mj-lt"/>
              <a:buAutoNum type="arabicPeriod"/>
              <a:defRPr/>
            </a:pPr>
            <a:r>
              <a:rPr lang="en-GB" sz="1200" dirty="0">
                <a:solidFill>
                  <a:srgbClr val="00B0F0"/>
                </a:solidFill>
              </a:rPr>
              <a:t>Deal structure</a:t>
            </a:r>
          </a:p>
          <a:p>
            <a:pPr marL="169863" indent="-169863">
              <a:spcBef>
                <a:spcPts val="400"/>
              </a:spcBef>
              <a:spcAft>
                <a:spcPts val="400"/>
              </a:spcAft>
              <a:buFont typeface="+mj-lt"/>
              <a:buAutoNum type="arabicPeriod"/>
              <a:defRPr/>
            </a:pPr>
            <a:r>
              <a:rPr lang="en-GB" sz="1200" dirty="0">
                <a:solidFill>
                  <a:srgbClr val="002776"/>
                </a:solidFill>
              </a:rPr>
              <a:t>M&amp;A negotiations</a:t>
            </a:r>
          </a:p>
          <a:p>
            <a:pPr marL="169863" indent="-169863">
              <a:spcBef>
                <a:spcPts val="400"/>
              </a:spcBef>
              <a:spcAft>
                <a:spcPts val="400"/>
              </a:spcAft>
              <a:buFont typeface="+mj-lt"/>
              <a:buAutoNum type="arabicPeriod"/>
              <a:defRPr/>
            </a:pPr>
            <a:r>
              <a:rPr lang="en-GB" sz="1200" dirty="0">
                <a:solidFill>
                  <a:srgbClr val="002776"/>
                </a:solidFill>
              </a:rPr>
              <a:t>Signing and closing the M&amp;A deal</a:t>
            </a:r>
          </a:p>
        </p:txBody>
      </p:sp>
      <p:pic>
        <p:nvPicPr>
          <p:cNvPr id="32" name="Graphic 31" descr="Statistics outline">
            <a:extLst>
              <a:ext uri="{FF2B5EF4-FFF2-40B4-BE49-F238E27FC236}">
                <a16:creationId xmlns:a16="http://schemas.microsoft.com/office/drawing/2014/main" id="{9D44542B-9202-2EB8-B862-DAACA91C39D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45208" y="1593612"/>
            <a:ext cx="457200" cy="457200"/>
          </a:xfrm>
          <a:prstGeom prst="rect">
            <a:avLst/>
          </a:prstGeom>
        </p:spPr>
      </p:pic>
      <p:sp>
        <p:nvSpPr>
          <p:cNvPr id="33" name="Rectangle 32">
            <a:extLst>
              <a:ext uri="{FF2B5EF4-FFF2-40B4-BE49-F238E27FC236}">
                <a16:creationId xmlns:a16="http://schemas.microsoft.com/office/drawing/2014/main" id="{C98A445D-0106-2313-AECF-B091360A0486}"/>
              </a:ext>
            </a:extLst>
          </p:cNvPr>
          <p:cNvSpPr/>
          <p:nvPr/>
        </p:nvSpPr>
        <p:spPr>
          <a:xfrm>
            <a:off x="4233622" y="2792816"/>
            <a:ext cx="1711407" cy="3929281"/>
          </a:xfrm>
          <a:prstGeom prst="rect">
            <a:avLst/>
          </a:prstGeom>
          <a:effectLst/>
        </p:spPr>
        <p:txBody>
          <a:bodyPr wrap="square" lIns="0">
            <a:spAutoFit/>
          </a:bodyPr>
          <a:lstStyle/>
          <a:p>
            <a:pPr marL="169863" indent="-169863">
              <a:spcBef>
                <a:spcPts val="300"/>
              </a:spcBef>
              <a:spcAft>
                <a:spcPts val="300"/>
              </a:spcAft>
              <a:buFont typeface="+mj-lt"/>
              <a:buAutoNum type="arabicPeriod"/>
              <a:defRPr/>
            </a:pPr>
            <a:r>
              <a:rPr lang="en-GB" sz="1200" dirty="0">
                <a:solidFill>
                  <a:srgbClr val="002776"/>
                </a:solidFill>
              </a:rPr>
              <a:t>Strategic benefit </a:t>
            </a:r>
          </a:p>
          <a:p>
            <a:pPr marL="169863" indent="-169863">
              <a:spcBef>
                <a:spcPts val="300"/>
              </a:spcBef>
              <a:spcAft>
                <a:spcPts val="300"/>
              </a:spcAft>
              <a:buFont typeface="+mj-lt"/>
              <a:buAutoNum type="arabicPeriod"/>
              <a:defRPr/>
            </a:pPr>
            <a:r>
              <a:rPr lang="en-GB" sz="1200" dirty="0">
                <a:solidFill>
                  <a:srgbClr val="002776"/>
                </a:solidFill>
              </a:rPr>
              <a:t>Feasibility</a:t>
            </a:r>
          </a:p>
          <a:p>
            <a:pPr marL="169863" indent="-169863">
              <a:spcBef>
                <a:spcPts val="300"/>
              </a:spcBef>
              <a:spcAft>
                <a:spcPts val="300"/>
              </a:spcAft>
              <a:buFont typeface="+mj-lt"/>
              <a:buAutoNum type="arabicPeriod"/>
              <a:defRPr/>
            </a:pPr>
            <a:r>
              <a:rPr lang="en-GB" sz="1200" dirty="0">
                <a:solidFill>
                  <a:srgbClr val="002776"/>
                </a:solidFill>
              </a:rPr>
              <a:t>Financial benefit</a:t>
            </a:r>
          </a:p>
          <a:p>
            <a:pPr marL="169863" indent="-169863">
              <a:spcBef>
                <a:spcPts val="300"/>
              </a:spcBef>
              <a:spcAft>
                <a:spcPts val="300"/>
              </a:spcAft>
              <a:buFont typeface="+mj-lt"/>
              <a:buAutoNum type="arabicPeriod"/>
              <a:defRPr/>
            </a:pPr>
            <a:r>
              <a:rPr lang="en-GB" sz="1200" dirty="0">
                <a:solidFill>
                  <a:srgbClr val="002776"/>
                </a:solidFill>
              </a:rPr>
              <a:t>Comprehensive M&amp;A financial model including acquirer model, target model, merger assumptions &amp; analysis, and pro forma model</a:t>
            </a:r>
          </a:p>
          <a:p>
            <a:pPr marL="169863" indent="-169863">
              <a:spcBef>
                <a:spcPts val="300"/>
              </a:spcBef>
              <a:spcAft>
                <a:spcPts val="300"/>
              </a:spcAft>
              <a:buFont typeface="+mj-lt"/>
              <a:buAutoNum type="arabicPeriod"/>
              <a:defRPr/>
            </a:pPr>
            <a:r>
              <a:rPr lang="en-GB" sz="1200" dirty="0">
                <a:solidFill>
                  <a:srgbClr val="002776"/>
                </a:solidFill>
              </a:rPr>
              <a:t>Simple Financial model including integration cost, revenue synergy, cost synergy, NPV, ROI, and IRR</a:t>
            </a:r>
          </a:p>
          <a:p>
            <a:pPr marL="169863" indent="-169863">
              <a:spcBef>
                <a:spcPts val="300"/>
              </a:spcBef>
              <a:spcAft>
                <a:spcPts val="300"/>
              </a:spcAft>
              <a:buFont typeface="+mj-lt"/>
              <a:buAutoNum type="arabicPeriod"/>
              <a:defRPr/>
            </a:pPr>
            <a:r>
              <a:rPr lang="en-GB" sz="1200" dirty="0">
                <a:solidFill>
                  <a:srgbClr val="002776"/>
                </a:solidFill>
              </a:rPr>
              <a:t>Letter of intent or term sheet</a:t>
            </a:r>
          </a:p>
        </p:txBody>
      </p:sp>
    </p:spTree>
    <p:extLst>
      <p:ext uri="{BB962C8B-B14F-4D97-AF65-F5344CB8AC3E}">
        <p14:creationId xmlns:p14="http://schemas.microsoft.com/office/powerpoint/2010/main" val="19330127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US" sz="2000" b="0" kern="0" dirty="0">
                <a:solidFill>
                  <a:srgbClr val="002776"/>
                </a:solidFill>
              </a:rPr>
              <a:t>Overview*</a:t>
            </a:r>
            <a:endParaRPr lang="en-AU" b="0" dirty="0"/>
          </a:p>
        </p:txBody>
      </p:sp>
      <p:sp>
        <p:nvSpPr>
          <p:cNvPr id="3" name="Text Placeholder 2">
            <a:extLst>
              <a:ext uri="{FF2B5EF4-FFF2-40B4-BE49-F238E27FC236}">
                <a16:creationId xmlns:a16="http://schemas.microsoft.com/office/drawing/2014/main" id="{6BE1B6B4-87AF-4A0F-9A81-38B388B86D24}"/>
              </a:ext>
            </a:extLst>
          </p:cNvPr>
          <p:cNvSpPr>
            <a:spLocks noGrp="1"/>
          </p:cNvSpPr>
          <p:nvPr>
            <p:ph type="body" sz="quarter" idx="10"/>
          </p:nvPr>
        </p:nvSpPr>
        <p:spPr>
          <a:xfrm>
            <a:off x="508001" y="1567573"/>
            <a:ext cx="11079163" cy="4519717"/>
          </a:xfrm>
        </p:spPr>
        <p:txBody>
          <a:bodyPr>
            <a:normAutofit fontScale="70000" lnSpcReduction="20000"/>
          </a:bodyPr>
          <a:lstStyle/>
          <a:p>
            <a:pPr>
              <a:lnSpc>
                <a:spcPct val="120000"/>
              </a:lnSpc>
              <a:spcBef>
                <a:spcPts val="300"/>
              </a:spcBef>
              <a:spcAft>
                <a:spcPts val="300"/>
              </a:spcAft>
            </a:pPr>
            <a:r>
              <a:rPr lang="en-GB" dirty="0"/>
              <a:t>There are many ways in which a corporate merger or acquisition may be structured. The goal is not to create the most complex structure, but rather to create a structure that fairly reflects the objectives of the buyer and the seller. </a:t>
            </a:r>
          </a:p>
          <a:p>
            <a:pPr>
              <a:lnSpc>
                <a:spcPct val="120000"/>
              </a:lnSpc>
              <a:spcBef>
                <a:spcPts val="300"/>
              </a:spcBef>
              <a:spcAft>
                <a:spcPts val="300"/>
              </a:spcAft>
            </a:pPr>
            <a:r>
              <a:rPr lang="en-GB" dirty="0"/>
              <a:t>At the fundamental level, all structures are either mergers or acquisitions, including the purchase or consolidation of either stocks or assets.</a:t>
            </a:r>
          </a:p>
          <a:p>
            <a:pPr>
              <a:lnSpc>
                <a:spcPct val="120000"/>
              </a:lnSpc>
              <a:spcBef>
                <a:spcPts val="300"/>
              </a:spcBef>
              <a:spcAft>
                <a:spcPts val="300"/>
              </a:spcAft>
            </a:pPr>
            <a:r>
              <a:rPr lang="en-GB" dirty="0"/>
              <a:t>At the heart of each transaction are the following key issues that will affect the structure of the deal:</a:t>
            </a:r>
          </a:p>
          <a:p>
            <a:pPr marL="269875" indent="-182563">
              <a:lnSpc>
                <a:spcPct val="120000"/>
              </a:lnSpc>
              <a:spcBef>
                <a:spcPts val="300"/>
              </a:spcBef>
              <a:spcAft>
                <a:spcPts val="300"/>
              </a:spcAft>
              <a:buFont typeface="Arial" panose="020B0604020202020204" pitchFamily="34" charset="0"/>
              <a:buChar char="•"/>
            </a:pPr>
            <a:r>
              <a:rPr lang="en-GB" dirty="0"/>
              <a:t>How will tangible and intangible assets be transferred from the seller to the purchaser?</a:t>
            </a:r>
          </a:p>
          <a:p>
            <a:pPr marL="269875" indent="-182563">
              <a:lnSpc>
                <a:spcPct val="120000"/>
              </a:lnSpc>
              <a:spcBef>
                <a:spcPts val="300"/>
              </a:spcBef>
              <a:spcAft>
                <a:spcPts val="300"/>
              </a:spcAft>
              <a:buFont typeface="Arial" panose="020B0604020202020204" pitchFamily="34" charset="0"/>
              <a:buChar char="•"/>
            </a:pPr>
            <a:r>
              <a:rPr lang="en-GB" dirty="0"/>
              <a:t>At what price will they be transferred, and according to what terms?</a:t>
            </a:r>
          </a:p>
          <a:p>
            <a:pPr marL="269875" indent="-182563">
              <a:lnSpc>
                <a:spcPct val="120000"/>
              </a:lnSpc>
              <a:spcBef>
                <a:spcPts val="300"/>
              </a:spcBef>
              <a:spcAft>
                <a:spcPts val="300"/>
              </a:spcAft>
              <a:buFont typeface="Arial" panose="020B0604020202020204" pitchFamily="34" charset="0"/>
              <a:buChar char="•"/>
            </a:pPr>
            <a:r>
              <a:rPr lang="en-GB" dirty="0"/>
              <a:t>What issues discovered during due diligence may affect the price, terms, or structure of the deal?</a:t>
            </a:r>
          </a:p>
          <a:p>
            <a:pPr marL="269875" indent="-182563">
              <a:lnSpc>
                <a:spcPct val="120000"/>
              </a:lnSpc>
              <a:spcBef>
                <a:spcPts val="300"/>
              </a:spcBef>
              <a:spcAft>
                <a:spcPts val="300"/>
              </a:spcAft>
              <a:buFont typeface="Arial" panose="020B0604020202020204" pitchFamily="34" charset="0"/>
              <a:buChar char="•"/>
            </a:pPr>
            <a:r>
              <a:rPr lang="en-GB" dirty="0"/>
              <a:t>What liabilities will be assumed by the purchaser?</a:t>
            </a:r>
          </a:p>
          <a:p>
            <a:pPr marL="269875" indent="-182563">
              <a:lnSpc>
                <a:spcPct val="120000"/>
              </a:lnSpc>
              <a:spcBef>
                <a:spcPts val="300"/>
              </a:spcBef>
              <a:spcAft>
                <a:spcPts val="300"/>
              </a:spcAft>
              <a:buFont typeface="Arial" panose="020B0604020202020204" pitchFamily="34" charset="0"/>
              <a:buChar char="•"/>
            </a:pPr>
            <a:r>
              <a:rPr lang="en-GB" dirty="0"/>
              <a:t>What are the tax implications for the buyer and the seller?</a:t>
            </a:r>
          </a:p>
          <a:p>
            <a:pPr marL="269875" indent="-182563">
              <a:lnSpc>
                <a:spcPct val="120000"/>
              </a:lnSpc>
              <a:spcBef>
                <a:spcPts val="300"/>
              </a:spcBef>
              <a:spcAft>
                <a:spcPts val="300"/>
              </a:spcAft>
              <a:buFont typeface="Arial" panose="020B0604020202020204" pitchFamily="34" charset="0"/>
              <a:buChar char="•"/>
            </a:pPr>
            <a:r>
              <a:rPr lang="en-GB" dirty="0"/>
              <a:t>What role will the seller have in the management and growth of the underlying business after closing?</a:t>
            </a:r>
          </a:p>
          <a:p>
            <a:pPr marL="269875" indent="-182563">
              <a:lnSpc>
                <a:spcPct val="120000"/>
              </a:lnSpc>
              <a:spcBef>
                <a:spcPts val="300"/>
              </a:spcBef>
              <a:spcAft>
                <a:spcPts val="300"/>
              </a:spcAft>
              <a:buFont typeface="Arial" panose="020B0604020202020204" pitchFamily="34" charset="0"/>
              <a:buChar char="•"/>
            </a:pPr>
            <a:r>
              <a:rPr lang="en-GB" dirty="0"/>
              <a:t>To what extent will third-party consents or government filings or approvals be necessary?</a:t>
            </a:r>
          </a:p>
          <a:p>
            <a:pPr marL="269875" indent="-182563">
              <a:lnSpc>
                <a:spcPct val="120000"/>
              </a:lnSpc>
              <a:spcBef>
                <a:spcPts val="300"/>
              </a:spcBef>
              <a:spcAft>
                <a:spcPts val="300"/>
              </a:spcAft>
              <a:buFont typeface="Arial" panose="020B0604020202020204" pitchFamily="34" charset="0"/>
              <a:buChar char="•"/>
            </a:pPr>
            <a:r>
              <a:rPr lang="en-GB" dirty="0"/>
              <a:t>What arrangement will be made for the key management team of the seller, who may not necessarily be among the selling owners of the company?</a:t>
            </a:r>
          </a:p>
          <a:p>
            <a:pPr marL="269875" indent="-182563">
              <a:lnSpc>
                <a:spcPct val="120000"/>
              </a:lnSpc>
              <a:spcBef>
                <a:spcPts val="300"/>
              </a:spcBef>
              <a:spcAft>
                <a:spcPts val="300"/>
              </a:spcAft>
              <a:buFont typeface="Arial" panose="020B0604020202020204" pitchFamily="34" charset="0"/>
              <a:buChar char="•"/>
            </a:pPr>
            <a:r>
              <a:rPr lang="en-GB" dirty="0"/>
              <a:t>Does the buyer currently have access to all of the consideration to be paid to the seller, or will some of these funds need to be raised from debt or equity markets?</a:t>
            </a:r>
          </a:p>
          <a:p>
            <a:pPr marL="87312">
              <a:lnSpc>
                <a:spcPct val="120000"/>
              </a:lnSpc>
              <a:spcBef>
                <a:spcPts val="300"/>
              </a:spcBef>
              <a:spcAft>
                <a:spcPts val="300"/>
              </a:spcAft>
            </a:pPr>
            <a:r>
              <a:rPr lang="en-GB" dirty="0"/>
              <a:t>And at the heart of each structural alternative are the following 4 basic questions:</a:t>
            </a:r>
          </a:p>
          <a:p>
            <a:pPr marL="357188" indent="-174625">
              <a:lnSpc>
                <a:spcPct val="120000"/>
              </a:lnSpc>
              <a:spcBef>
                <a:spcPts val="300"/>
              </a:spcBef>
              <a:spcAft>
                <a:spcPts val="300"/>
              </a:spcAft>
              <a:buFont typeface="+mj-lt"/>
              <a:buAutoNum type="arabicPeriod"/>
            </a:pPr>
            <a:r>
              <a:rPr lang="en-GB" sz="1500" dirty="0"/>
              <a:t>Will the buyer be acquiring the stock or the assets of the target?</a:t>
            </a:r>
          </a:p>
          <a:p>
            <a:pPr marL="357188" indent="-174625">
              <a:lnSpc>
                <a:spcPct val="120000"/>
              </a:lnSpc>
              <a:spcBef>
                <a:spcPts val="300"/>
              </a:spcBef>
              <a:spcAft>
                <a:spcPts val="300"/>
              </a:spcAft>
              <a:buFont typeface="+mj-lt"/>
              <a:buAutoNum type="arabicPeriod"/>
            </a:pPr>
            <a:r>
              <a:rPr lang="en-GB" sz="1500" dirty="0"/>
              <a:t>In what form will the consideration from the buyer to the seller be made (e.g. cash, notes, securities, or some other form)?</a:t>
            </a:r>
          </a:p>
          <a:p>
            <a:pPr marL="357188" indent="-174625">
              <a:lnSpc>
                <a:spcPct val="120000"/>
              </a:lnSpc>
              <a:spcBef>
                <a:spcPts val="300"/>
              </a:spcBef>
              <a:spcAft>
                <a:spcPts val="300"/>
              </a:spcAft>
              <a:buFont typeface="+mj-lt"/>
              <a:buAutoNum type="arabicPeriod"/>
            </a:pPr>
            <a:r>
              <a:rPr lang="en-GB" sz="1500" dirty="0"/>
              <a:t>Will the purchase price be fixed, contingent, or payable over time on an </a:t>
            </a:r>
            <a:r>
              <a:rPr lang="en-US" sz="1500" dirty="0"/>
              <a:t>installment</a:t>
            </a:r>
            <a:r>
              <a:rPr lang="en-GB" sz="1500" dirty="0"/>
              <a:t> basis?</a:t>
            </a:r>
          </a:p>
          <a:p>
            <a:pPr marL="357188" indent="-174625">
              <a:lnSpc>
                <a:spcPct val="120000"/>
              </a:lnSpc>
              <a:spcBef>
                <a:spcPts val="300"/>
              </a:spcBef>
              <a:spcAft>
                <a:spcPts val="300"/>
              </a:spcAft>
              <a:buFont typeface="+mj-lt"/>
              <a:buAutoNum type="arabicPeriod"/>
            </a:pPr>
            <a:r>
              <a:rPr lang="en-GB" sz="1500" dirty="0"/>
              <a:t>What are the tax consequences of the proposed structure for the acquisition?</a:t>
            </a:r>
          </a:p>
          <a:p>
            <a:pPr marL="285750" indent="-285750">
              <a:lnSpc>
                <a:spcPct val="120000"/>
              </a:lnSpc>
              <a:spcBef>
                <a:spcPts val="300"/>
              </a:spcBef>
              <a:spcAft>
                <a:spcPts val="300"/>
              </a:spcAft>
              <a:buFont typeface="Arial" panose="020B0604020202020204" pitchFamily="34" charset="0"/>
              <a:buChar char="•"/>
            </a:pPr>
            <a:endParaRPr lang="en-AU"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4</a:t>
            </a:fld>
            <a:endParaRPr lang="en-IN" dirty="0"/>
          </a:p>
        </p:txBody>
      </p:sp>
      <p:sp>
        <p:nvSpPr>
          <p:cNvPr id="5" name="TextBox 4">
            <a:extLst>
              <a:ext uri="{FF2B5EF4-FFF2-40B4-BE49-F238E27FC236}">
                <a16:creationId xmlns:a16="http://schemas.microsoft.com/office/drawing/2014/main" id="{6C572F2B-C91D-48DB-AA98-3A5E2A876E7E}"/>
              </a:ext>
            </a:extLst>
          </p:cNvPr>
          <p:cNvSpPr txBox="1"/>
          <p:nvPr/>
        </p:nvSpPr>
        <p:spPr>
          <a:xfrm>
            <a:off x="383177" y="6592391"/>
            <a:ext cx="7019109" cy="230832"/>
          </a:xfrm>
          <a:prstGeom prst="rect">
            <a:avLst/>
          </a:prstGeom>
          <a:noFill/>
        </p:spPr>
        <p:txBody>
          <a:bodyPr wrap="square" rtlCol="0">
            <a:spAutoFit/>
          </a:bodyPr>
          <a:lstStyle/>
          <a:p>
            <a:r>
              <a:rPr lang="en-US" sz="900" i="1" dirty="0"/>
              <a:t>* Source: Book “Mergers &amp; Acquisitions from A to Z” by Andrew J. Sherman, which we highly recommend</a:t>
            </a:r>
          </a:p>
        </p:txBody>
      </p:sp>
    </p:spTree>
    <p:extLst>
      <p:ext uri="{BB962C8B-B14F-4D97-AF65-F5344CB8AC3E}">
        <p14:creationId xmlns:p14="http://schemas.microsoft.com/office/powerpoint/2010/main" val="3940640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US" sz="2000" b="0" kern="0" dirty="0">
                <a:solidFill>
                  <a:srgbClr val="002776"/>
                </a:solidFill>
              </a:rPr>
              <a:t>Stock versus asset purchases</a:t>
            </a:r>
            <a:endParaRPr lang="en-AU" b="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5</a:t>
            </a:fld>
            <a:endParaRPr lang="en-IN" dirty="0"/>
          </a:p>
        </p:txBody>
      </p:sp>
      <p:sp>
        <p:nvSpPr>
          <p:cNvPr id="8" name="TextBox 7">
            <a:extLst>
              <a:ext uri="{FF2B5EF4-FFF2-40B4-BE49-F238E27FC236}">
                <a16:creationId xmlns:a16="http://schemas.microsoft.com/office/drawing/2014/main" id="{DC74F9C9-AEDA-40E4-9404-3504FA186796}"/>
              </a:ext>
            </a:extLst>
          </p:cNvPr>
          <p:cNvSpPr txBox="1"/>
          <p:nvPr/>
        </p:nvSpPr>
        <p:spPr>
          <a:xfrm>
            <a:off x="3268692" y="1680752"/>
            <a:ext cx="5605347" cy="369332"/>
          </a:xfrm>
          <a:prstGeom prst="rect">
            <a:avLst/>
          </a:prstGeom>
          <a:noFill/>
        </p:spPr>
        <p:txBody>
          <a:bodyPr wrap="square" rtlCol="0">
            <a:spAutoFit/>
          </a:bodyPr>
          <a:lstStyle/>
          <a:p>
            <a:pPr algn="ctr"/>
            <a:r>
              <a:rPr lang="en-US" b="1" u="sng" dirty="0"/>
              <a:t>Stock</a:t>
            </a:r>
            <a:r>
              <a:rPr lang="en-US" b="1" dirty="0"/>
              <a:t> purchase advantages and disadvantages</a:t>
            </a:r>
          </a:p>
        </p:txBody>
      </p:sp>
      <p:sp>
        <p:nvSpPr>
          <p:cNvPr id="9" name="Rectangle 39">
            <a:extLst>
              <a:ext uri="{FF2B5EF4-FFF2-40B4-BE49-F238E27FC236}">
                <a16:creationId xmlns:a16="http://schemas.microsoft.com/office/drawing/2014/main" id="{3513174C-ED2B-4645-AA24-5CF769437560}"/>
              </a:ext>
            </a:extLst>
          </p:cNvPr>
          <p:cNvSpPr>
            <a:spLocks noChangeArrowheads="1"/>
          </p:cNvSpPr>
          <p:nvPr>
            <p:custDataLst>
              <p:tags r:id="rId1"/>
            </p:custDataLst>
          </p:nvPr>
        </p:nvSpPr>
        <p:spPr bwMode="auto">
          <a:xfrm>
            <a:off x="1020844" y="3414651"/>
            <a:ext cx="1931811"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lang="en-GB" sz="1400" dirty="0"/>
              <a:t>Buyer’s perspective</a:t>
            </a:r>
            <a:endParaRPr kumimoji="0" lang="en-GB" sz="1400" i="0" u="none" strike="noStrike" kern="1200" cap="none" spc="0" normalizeH="0" baseline="0" noProof="0" dirty="0">
              <a:ln>
                <a:noFill/>
              </a:ln>
              <a:effectLst/>
              <a:uLnTx/>
              <a:uFillTx/>
              <a:ea typeface="+mn-ea"/>
              <a:cs typeface="+mn-cs"/>
            </a:endParaRPr>
          </a:p>
        </p:txBody>
      </p:sp>
      <p:sp>
        <p:nvSpPr>
          <p:cNvPr id="13" name="Rectangle 38">
            <a:extLst>
              <a:ext uri="{FF2B5EF4-FFF2-40B4-BE49-F238E27FC236}">
                <a16:creationId xmlns:a16="http://schemas.microsoft.com/office/drawing/2014/main" id="{A699B3C4-BC44-4F6A-84D8-22C974BF1F8E}"/>
              </a:ext>
            </a:extLst>
          </p:cNvPr>
          <p:cNvSpPr>
            <a:spLocks noChangeArrowheads="1"/>
          </p:cNvSpPr>
          <p:nvPr>
            <p:custDataLst>
              <p:tags r:id="rId2"/>
            </p:custDataLst>
          </p:nvPr>
        </p:nvSpPr>
        <p:spPr bwMode="auto">
          <a:xfrm>
            <a:off x="7034237" y="2366001"/>
            <a:ext cx="1808187"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ain Disadvantages</a:t>
            </a:r>
            <a:endParaRPr kumimoji="0" lang="en-GB" sz="1400" i="0" u="none" strike="noStrike" kern="1200" cap="none" spc="0" normalizeH="0" baseline="0" noProof="0" dirty="0">
              <a:ln>
                <a:noFill/>
              </a:ln>
              <a:effectLst/>
              <a:uLnTx/>
              <a:uFillTx/>
              <a:ea typeface="+mn-ea"/>
              <a:cs typeface="+mn-cs"/>
            </a:endParaRPr>
          </a:p>
        </p:txBody>
      </p:sp>
      <p:sp>
        <p:nvSpPr>
          <p:cNvPr id="14" name="Rectangle 38">
            <a:extLst>
              <a:ext uri="{FF2B5EF4-FFF2-40B4-BE49-F238E27FC236}">
                <a16:creationId xmlns:a16="http://schemas.microsoft.com/office/drawing/2014/main" id="{F172091E-6D53-4C04-A93C-794E1CCEB2B1}"/>
              </a:ext>
            </a:extLst>
          </p:cNvPr>
          <p:cNvSpPr>
            <a:spLocks noChangeArrowheads="1"/>
          </p:cNvSpPr>
          <p:nvPr>
            <p:custDataLst>
              <p:tags r:id="rId3"/>
            </p:custDataLst>
          </p:nvPr>
        </p:nvSpPr>
        <p:spPr bwMode="auto">
          <a:xfrm>
            <a:off x="3930066" y="2343736"/>
            <a:ext cx="1559466"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ain Advantages</a:t>
            </a:r>
            <a:endParaRPr kumimoji="0" lang="en-GB" sz="1400" i="0" u="none" strike="noStrike" kern="1200" cap="none" spc="0" normalizeH="0" baseline="0" noProof="0" dirty="0">
              <a:ln>
                <a:noFill/>
              </a:ln>
              <a:effectLst/>
              <a:uLnTx/>
              <a:uFillTx/>
              <a:ea typeface="+mn-ea"/>
              <a:cs typeface="+mn-cs"/>
            </a:endParaRPr>
          </a:p>
        </p:txBody>
      </p:sp>
      <p:sp>
        <p:nvSpPr>
          <p:cNvPr id="15" name="Rectangle 14">
            <a:extLst>
              <a:ext uri="{FF2B5EF4-FFF2-40B4-BE49-F238E27FC236}">
                <a16:creationId xmlns:a16="http://schemas.microsoft.com/office/drawing/2014/main" id="{A8E24B1A-C570-44F8-A105-BB99B8E02701}"/>
              </a:ext>
            </a:extLst>
          </p:cNvPr>
          <p:cNvSpPr/>
          <p:nvPr/>
        </p:nvSpPr>
        <p:spPr bwMode="auto">
          <a:xfrm>
            <a:off x="3050973" y="2751428"/>
            <a:ext cx="3230563" cy="1763532"/>
          </a:xfrm>
          <a:prstGeom prst="rect">
            <a:avLst/>
          </a:prstGeom>
          <a:solidFill>
            <a:srgbClr val="D3EFCE"/>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a:cs typeface="Times New Roman" pitchFamily="18" charset="0"/>
              </a:rPr>
              <a:t>Preserves the </a:t>
            </a:r>
            <a:r>
              <a:rPr lang="en-US" sz="1100" dirty="0">
                <a:cs typeface="Times New Roman" pitchFamily="18" charset="0"/>
              </a:rPr>
              <a:t>right of the buyer to use the seller’s name, licenses, and permits.</a:t>
            </a:r>
          </a:p>
          <a:p>
            <a:pPr marL="171450" indent="-171450" defTabSz="623853" fontAlgn="base">
              <a:spcBef>
                <a:spcPts val="200"/>
              </a:spcBef>
              <a:spcAft>
                <a:spcPts val="200"/>
              </a:spcAft>
              <a:buClr>
                <a:schemeClr val="tx1"/>
              </a:buClr>
              <a:buFont typeface="Arial" panose="020B0604020202020204" pitchFamily="34" charset="0"/>
              <a:buChar char="•"/>
            </a:pPr>
            <a:r>
              <a:rPr lang="en-US" sz="1100">
                <a:cs typeface="Times New Roman" pitchFamily="18" charset="0"/>
              </a:rPr>
              <a:t>Provides continuity of the </a:t>
            </a:r>
            <a:r>
              <a:rPr lang="en-US" sz="1100" dirty="0">
                <a:cs typeface="Times New Roman" pitchFamily="18" charset="0"/>
              </a:rPr>
              <a:t>corporate identity, contracts, and </a:t>
            </a:r>
            <a:r>
              <a:rPr lang="en-US" sz="1100">
                <a:cs typeface="Times New Roman" pitchFamily="18" charset="0"/>
              </a:rPr>
              <a:t>structure.</a:t>
            </a:r>
            <a:endParaRPr lang="en-US" sz="1100" dirty="0">
              <a:cs typeface="Times New Roman" pitchFamily="18" charset="0"/>
            </a:endParaRPr>
          </a:p>
        </p:txBody>
      </p:sp>
      <p:sp>
        <p:nvSpPr>
          <p:cNvPr id="16" name="Rectangle 15">
            <a:extLst>
              <a:ext uri="{FF2B5EF4-FFF2-40B4-BE49-F238E27FC236}">
                <a16:creationId xmlns:a16="http://schemas.microsoft.com/office/drawing/2014/main" id="{D06F16EA-721D-4505-B504-1940D31650CA}"/>
              </a:ext>
            </a:extLst>
          </p:cNvPr>
          <p:cNvSpPr/>
          <p:nvPr/>
        </p:nvSpPr>
        <p:spPr bwMode="auto">
          <a:xfrm>
            <a:off x="6376521" y="2751428"/>
            <a:ext cx="3230563" cy="176353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re </a:t>
            </a:r>
            <a:r>
              <a:rPr lang="en-US" sz="1100">
                <a:cs typeface="Times New Roman" pitchFamily="18" charset="0"/>
              </a:rPr>
              <a:t>is </a:t>
            </a:r>
            <a:r>
              <a:rPr lang="en-US" sz="1100" dirty="0">
                <a:cs typeface="Times New Roman" pitchFamily="18" charset="0"/>
              </a:rPr>
              <a:t>less flexibility to cherry-pick key assets of the seller</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is structure usually does not terminate existing labor union collective bargaining agreement(s) and generally results in the continuation of employee benefits </a:t>
            </a:r>
            <a:r>
              <a:rPr lang="en-US" sz="1100">
                <a:cs typeface="Times New Roman" pitchFamily="18" charset="0"/>
              </a:rPr>
              <a:t>plans.</a:t>
            </a:r>
            <a:endParaRPr lang="en-US" sz="1100" dirty="0">
              <a:cs typeface="Times New Roman" pitchFamily="18" charset="0"/>
            </a:endParaRPr>
          </a:p>
        </p:txBody>
      </p:sp>
      <p:sp>
        <p:nvSpPr>
          <p:cNvPr id="17" name="Rectangle 16">
            <a:extLst>
              <a:ext uri="{FF2B5EF4-FFF2-40B4-BE49-F238E27FC236}">
                <a16:creationId xmlns:a16="http://schemas.microsoft.com/office/drawing/2014/main" id="{1D7D95DF-C13D-4104-9EBB-08F65A182694}"/>
              </a:ext>
            </a:extLst>
          </p:cNvPr>
          <p:cNvSpPr/>
          <p:nvPr/>
        </p:nvSpPr>
        <p:spPr bwMode="auto">
          <a:xfrm>
            <a:off x="3050973" y="4610600"/>
            <a:ext cx="3230563" cy="1763532"/>
          </a:xfrm>
          <a:prstGeom prst="rect">
            <a:avLst/>
          </a:prstGeom>
          <a:solidFill>
            <a:srgbClr val="D3EFCE"/>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seller is taxed only on the sales of stock.</a:t>
            </a:r>
          </a:p>
          <a:p>
            <a:pPr marL="171450" indent="-171450" defTabSz="623853" fontAlgn="base">
              <a:spcBef>
                <a:spcPts val="200"/>
              </a:spcBef>
              <a:spcAft>
                <a:spcPts val="200"/>
              </a:spcAft>
              <a:buClr>
                <a:schemeClr val="tx1"/>
              </a:buClr>
              <a:buFont typeface="Arial" panose="020B0604020202020204" pitchFamily="34" charset="0"/>
              <a:buChar char="•"/>
            </a:pPr>
            <a:r>
              <a:rPr lang="en-US" sz="1100">
                <a:cs typeface="Times New Roman" pitchFamily="18" charset="0"/>
              </a:rPr>
              <a:t>Any </a:t>
            </a:r>
            <a:r>
              <a:rPr lang="en-US" sz="1100" dirty="0">
                <a:cs typeface="Times New Roman" pitchFamily="18" charset="0"/>
              </a:rPr>
              <a:t>gain or loss is usually capital in nature.</a:t>
            </a:r>
          </a:p>
          <a:p>
            <a:pPr marL="171450" indent="-171450" defTabSz="623853" fontAlgn="base">
              <a:spcBef>
                <a:spcPts val="200"/>
              </a:spcBef>
              <a:spcAft>
                <a:spcPts val="200"/>
              </a:spcAft>
              <a:buClr>
                <a:schemeClr val="tx1"/>
              </a:buClr>
              <a:buFont typeface="Arial" panose="020B0604020202020204" pitchFamily="34" charset="0"/>
              <a:buChar char="•"/>
            </a:pPr>
            <a:r>
              <a:rPr lang="en-US" sz="1100">
                <a:cs typeface="Times New Roman" pitchFamily="18" charset="0"/>
              </a:rPr>
              <a:t>It does not leave </a:t>
            </a:r>
            <a:r>
              <a:rPr lang="en-US" sz="1100" dirty="0">
                <a:cs typeface="Times New Roman" pitchFamily="18" charset="0"/>
              </a:rPr>
              <a:t>the seller with the problem of disposing of assets that were not bought by the </a:t>
            </a:r>
            <a:r>
              <a:rPr lang="en-US" sz="1100">
                <a:cs typeface="Times New Roman" pitchFamily="18" charset="0"/>
              </a:rPr>
              <a:t>purchase.</a:t>
            </a:r>
            <a:endParaRPr lang="en-US" sz="1100" dirty="0">
              <a:cs typeface="Times New Roman" pitchFamily="18" charset="0"/>
            </a:endParaRPr>
          </a:p>
        </p:txBody>
      </p:sp>
      <p:sp>
        <p:nvSpPr>
          <p:cNvPr id="18" name="Rectangle 17">
            <a:extLst>
              <a:ext uri="{FF2B5EF4-FFF2-40B4-BE49-F238E27FC236}">
                <a16:creationId xmlns:a16="http://schemas.microsoft.com/office/drawing/2014/main" id="{DBDC6177-EF65-4C0F-89D8-232DE11D358A}"/>
              </a:ext>
            </a:extLst>
          </p:cNvPr>
          <p:cNvSpPr/>
          <p:nvPr/>
        </p:nvSpPr>
        <p:spPr bwMode="auto">
          <a:xfrm>
            <a:off x="6376521" y="4610600"/>
            <a:ext cx="3230563" cy="176353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seller cannot pick and choose the assets to be retained.</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A loss on the sale of stock may not be recognized by a corporate shareholder who included the company in its consolidated income tax return.</a:t>
            </a:r>
          </a:p>
        </p:txBody>
      </p:sp>
      <p:sp>
        <p:nvSpPr>
          <p:cNvPr id="19" name="Rectangle 39">
            <a:extLst>
              <a:ext uri="{FF2B5EF4-FFF2-40B4-BE49-F238E27FC236}">
                <a16:creationId xmlns:a16="http://schemas.microsoft.com/office/drawing/2014/main" id="{D5F0FE6B-18ED-4EA6-BC22-27860DE222A5}"/>
              </a:ext>
            </a:extLst>
          </p:cNvPr>
          <p:cNvSpPr>
            <a:spLocks noChangeArrowheads="1"/>
          </p:cNvSpPr>
          <p:nvPr>
            <p:custDataLst>
              <p:tags r:id="rId4"/>
            </p:custDataLst>
          </p:nvPr>
        </p:nvSpPr>
        <p:spPr bwMode="auto">
          <a:xfrm>
            <a:off x="1020844" y="5226047"/>
            <a:ext cx="1922193"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lang="en-GB" sz="1400" dirty="0"/>
              <a:t>Seller’s perspective</a:t>
            </a:r>
            <a:endParaRPr kumimoji="0" lang="en-GB" sz="1400" i="0" u="none" strike="noStrike" kern="1200" cap="none" spc="0" normalizeH="0" baseline="0" noProof="0" dirty="0">
              <a:ln>
                <a:noFill/>
              </a:ln>
              <a:effectLst/>
              <a:uLnTx/>
              <a:uFillTx/>
              <a:ea typeface="+mn-ea"/>
              <a:cs typeface="+mn-cs"/>
            </a:endParaRPr>
          </a:p>
        </p:txBody>
      </p:sp>
    </p:spTree>
    <p:extLst>
      <p:ext uri="{BB962C8B-B14F-4D97-AF65-F5344CB8AC3E}">
        <p14:creationId xmlns:p14="http://schemas.microsoft.com/office/powerpoint/2010/main" val="35636060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US" sz="2000" b="0" kern="0" dirty="0">
                <a:solidFill>
                  <a:srgbClr val="002776"/>
                </a:solidFill>
              </a:rPr>
              <a:t>Stock versus asset purchases</a:t>
            </a:r>
            <a:endParaRPr lang="en-AU" b="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6</a:t>
            </a:fld>
            <a:endParaRPr lang="en-IN" dirty="0"/>
          </a:p>
        </p:txBody>
      </p:sp>
      <p:sp>
        <p:nvSpPr>
          <p:cNvPr id="8" name="TextBox 7">
            <a:extLst>
              <a:ext uri="{FF2B5EF4-FFF2-40B4-BE49-F238E27FC236}">
                <a16:creationId xmlns:a16="http://schemas.microsoft.com/office/drawing/2014/main" id="{DC74F9C9-AEDA-40E4-9404-3504FA186796}"/>
              </a:ext>
            </a:extLst>
          </p:cNvPr>
          <p:cNvSpPr txBox="1"/>
          <p:nvPr/>
        </p:nvSpPr>
        <p:spPr>
          <a:xfrm>
            <a:off x="3268692" y="1680752"/>
            <a:ext cx="5605347" cy="369332"/>
          </a:xfrm>
          <a:prstGeom prst="rect">
            <a:avLst/>
          </a:prstGeom>
          <a:noFill/>
        </p:spPr>
        <p:txBody>
          <a:bodyPr wrap="square" rtlCol="0">
            <a:spAutoFit/>
          </a:bodyPr>
          <a:lstStyle/>
          <a:p>
            <a:pPr algn="ctr"/>
            <a:r>
              <a:rPr lang="en-US" b="1" u="sng" dirty="0"/>
              <a:t>Asset</a:t>
            </a:r>
            <a:r>
              <a:rPr lang="en-US" b="1" dirty="0"/>
              <a:t> purchase advantages and disadvantages</a:t>
            </a:r>
          </a:p>
        </p:txBody>
      </p:sp>
      <p:sp>
        <p:nvSpPr>
          <p:cNvPr id="9" name="Rectangle 39">
            <a:extLst>
              <a:ext uri="{FF2B5EF4-FFF2-40B4-BE49-F238E27FC236}">
                <a16:creationId xmlns:a16="http://schemas.microsoft.com/office/drawing/2014/main" id="{3513174C-ED2B-4645-AA24-5CF769437560}"/>
              </a:ext>
            </a:extLst>
          </p:cNvPr>
          <p:cNvSpPr>
            <a:spLocks noChangeArrowheads="1"/>
          </p:cNvSpPr>
          <p:nvPr>
            <p:custDataLst>
              <p:tags r:id="rId1"/>
            </p:custDataLst>
          </p:nvPr>
        </p:nvSpPr>
        <p:spPr bwMode="auto">
          <a:xfrm>
            <a:off x="1020844" y="3414651"/>
            <a:ext cx="1931811"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lang="en-GB" sz="1400" dirty="0"/>
              <a:t>Buyer’s perspective</a:t>
            </a:r>
            <a:endParaRPr kumimoji="0" lang="en-GB" sz="1400" i="0" u="none" strike="noStrike" kern="1200" cap="none" spc="0" normalizeH="0" baseline="0" noProof="0" dirty="0">
              <a:ln>
                <a:noFill/>
              </a:ln>
              <a:effectLst/>
              <a:uLnTx/>
              <a:uFillTx/>
              <a:ea typeface="+mn-ea"/>
              <a:cs typeface="+mn-cs"/>
            </a:endParaRPr>
          </a:p>
        </p:txBody>
      </p:sp>
      <p:sp>
        <p:nvSpPr>
          <p:cNvPr id="13" name="Rectangle 38">
            <a:extLst>
              <a:ext uri="{FF2B5EF4-FFF2-40B4-BE49-F238E27FC236}">
                <a16:creationId xmlns:a16="http://schemas.microsoft.com/office/drawing/2014/main" id="{A699B3C4-BC44-4F6A-84D8-22C974BF1F8E}"/>
              </a:ext>
            </a:extLst>
          </p:cNvPr>
          <p:cNvSpPr>
            <a:spLocks noChangeArrowheads="1"/>
          </p:cNvSpPr>
          <p:nvPr>
            <p:custDataLst>
              <p:tags r:id="rId2"/>
            </p:custDataLst>
          </p:nvPr>
        </p:nvSpPr>
        <p:spPr bwMode="auto">
          <a:xfrm>
            <a:off x="7034237" y="2366001"/>
            <a:ext cx="1808187"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ain Disadvantages</a:t>
            </a:r>
            <a:endParaRPr kumimoji="0" lang="en-GB" sz="1400" i="0" u="none" strike="noStrike" kern="1200" cap="none" spc="0" normalizeH="0" baseline="0" noProof="0" dirty="0">
              <a:ln>
                <a:noFill/>
              </a:ln>
              <a:effectLst/>
              <a:uLnTx/>
              <a:uFillTx/>
              <a:ea typeface="+mn-ea"/>
              <a:cs typeface="+mn-cs"/>
            </a:endParaRPr>
          </a:p>
        </p:txBody>
      </p:sp>
      <p:sp>
        <p:nvSpPr>
          <p:cNvPr id="14" name="Rectangle 38">
            <a:extLst>
              <a:ext uri="{FF2B5EF4-FFF2-40B4-BE49-F238E27FC236}">
                <a16:creationId xmlns:a16="http://schemas.microsoft.com/office/drawing/2014/main" id="{F172091E-6D53-4C04-A93C-794E1CCEB2B1}"/>
              </a:ext>
            </a:extLst>
          </p:cNvPr>
          <p:cNvSpPr>
            <a:spLocks noChangeArrowheads="1"/>
          </p:cNvSpPr>
          <p:nvPr>
            <p:custDataLst>
              <p:tags r:id="rId3"/>
            </p:custDataLst>
          </p:nvPr>
        </p:nvSpPr>
        <p:spPr bwMode="auto">
          <a:xfrm>
            <a:off x="3930066" y="2343736"/>
            <a:ext cx="1559466"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ain Advantages</a:t>
            </a:r>
            <a:endParaRPr kumimoji="0" lang="en-GB" sz="1400" i="0" u="none" strike="noStrike" kern="1200" cap="none" spc="0" normalizeH="0" baseline="0" noProof="0" dirty="0">
              <a:ln>
                <a:noFill/>
              </a:ln>
              <a:effectLst/>
              <a:uLnTx/>
              <a:uFillTx/>
              <a:ea typeface="+mn-ea"/>
              <a:cs typeface="+mn-cs"/>
            </a:endParaRPr>
          </a:p>
        </p:txBody>
      </p:sp>
      <p:sp>
        <p:nvSpPr>
          <p:cNvPr id="15" name="Rectangle 14">
            <a:extLst>
              <a:ext uri="{FF2B5EF4-FFF2-40B4-BE49-F238E27FC236}">
                <a16:creationId xmlns:a16="http://schemas.microsoft.com/office/drawing/2014/main" id="{A8E24B1A-C570-44F8-A105-BB99B8E02701}"/>
              </a:ext>
            </a:extLst>
          </p:cNvPr>
          <p:cNvSpPr/>
          <p:nvPr/>
        </p:nvSpPr>
        <p:spPr bwMode="auto">
          <a:xfrm>
            <a:off x="3050973" y="2751428"/>
            <a:ext cx="3230563" cy="1763532"/>
          </a:xfrm>
          <a:prstGeom prst="rect">
            <a:avLst/>
          </a:prstGeom>
          <a:solidFill>
            <a:srgbClr val="D3EFCE"/>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buyer can be selective and choose specific assets.</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buyer is usually not liable for the seller’s liabilities unless mentioned in the contract.</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Buyers may elect new accounting methods.</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Results in termination of labor union collective bargaining agreement(s), and employee benefit plans may be maintained or terminated.</a:t>
            </a:r>
          </a:p>
        </p:txBody>
      </p:sp>
      <p:sp>
        <p:nvSpPr>
          <p:cNvPr id="16" name="Rectangle 15">
            <a:extLst>
              <a:ext uri="{FF2B5EF4-FFF2-40B4-BE49-F238E27FC236}">
                <a16:creationId xmlns:a16="http://schemas.microsoft.com/office/drawing/2014/main" id="{D06F16EA-721D-4505-B504-1940D31650CA}"/>
              </a:ext>
            </a:extLst>
          </p:cNvPr>
          <p:cNvSpPr/>
          <p:nvPr/>
        </p:nvSpPr>
        <p:spPr bwMode="auto">
          <a:xfrm>
            <a:off x="6376521" y="2751428"/>
            <a:ext cx="3230563" cy="176353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Nontransferable rights or assets (e.g. licenses, franchises or patents) cannot be transferred to buyers</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transaction is more complex and costly in terms of transferring specific assets and liabilities.</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lender’s consent may be required to assume liabilities.</a:t>
            </a:r>
          </a:p>
        </p:txBody>
      </p:sp>
      <p:sp>
        <p:nvSpPr>
          <p:cNvPr id="17" name="Rectangle 16">
            <a:extLst>
              <a:ext uri="{FF2B5EF4-FFF2-40B4-BE49-F238E27FC236}">
                <a16:creationId xmlns:a16="http://schemas.microsoft.com/office/drawing/2014/main" id="{1D7D95DF-C13D-4104-9EBB-08F65A182694}"/>
              </a:ext>
            </a:extLst>
          </p:cNvPr>
          <p:cNvSpPr/>
          <p:nvPr/>
        </p:nvSpPr>
        <p:spPr bwMode="auto">
          <a:xfrm>
            <a:off x="3050973" y="4610600"/>
            <a:ext cx="3230563" cy="1763532"/>
          </a:xfrm>
          <a:prstGeom prst="rect">
            <a:avLst/>
          </a:prstGeom>
          <a:solidFill>
            <a:srgbClr val="D3EFCE"/>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Maintains its corporate existence.</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Corporate name and goodwill can generally be maintained.</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corporation’s tax attributes are retained.</a:t>
            </a:r>
          </a:p>
        </p:txBody>
      </p:sp>
      <p:sp>
        <p:nvSpPr>
          <p:cNvPr id="18" name="Rectangle 17">
            <a:extLst>
              <a:ext uri="{FF2B5EF4-FFF2-40B4-BE49-F238E27FC236}">
                <a16:creationId xmlns:a16="http://schemas.microsoft.com/office/drawing/2014/main" id="{DBDC6177-EF65-4C0F-89D8-232DE11D358A}"/>
              </a:ext>
            </a:extLst>
          </p:cNvPr>
          <p:cNvSpPr/>
          <p:nvPr/>
        </p:nvSpPr>
        <p:spPr bwMode="auto">
          <a:xfrm>
            <a:off x="6376521" y="4610600"/>
            <a:ext cx="3230563" cy="1763532"/>
          </a:xfrm>
          <a:prstGeom prst="rect">
            <a:avLst/>
          </a:prstGeom>
          <a:solidFill>
            <a:schemeClr val="accent5">
              <a:lumMod val="20000"/>
              <a:lumOff val="80000"/>
            </a:schemeClr>
          </a:solidFill>
          <a:ln>
            <a:solidFill>
              <a:schemeClr val="bg1">
                <a:lumMod val="7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transaction generates various kind of gain and loss to sellers based on the classification of each asset as capital or ordinary.</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transaction is more complex and costly in terms of transferring specific assets and liabilities.</a:t>
            </a:r>
          </a:p>
          <a:p>
            <a:pPr marL="171450" indent="-171450" defTabSz="623853" fontAlgn="base">
              <a:spcBef>
                <a:spcPts val="200"/>
              </a:spcBef>
              <a:spcAft>
                <a:spcPts val="200"/>
              </a:spcAft>
              <a:buClr>
                <a:schemeClr val="tx1"/>
              </a:buClr>
              <a:buFont typeface="Arial" panose="020B0604020202020204" pitchFamily="34" charset="0"/>
              <a:buChar char="•"/>
            </a:pPr>
            <a:r>
              <a:rPr lang="en-US" sz="1100" dirty="0">
                <a:cs typeface="Times New Roman" pitchFamily="18" charset="0"/>
              </a:rPr>
              <a:t>The seller will be responsible for liquidating the remaining corporate “shell” and distribution of the proceeds of the asset sale to its shareholders.</a:t>
            </a:r>
          </a:p>
        </p:txBody>
      </p:sp>
      <p:sp>
        <p:nvSpPr>
          <p:cNvPr id="19" name="Rectangle 39">
            <a:extLst>
              <a:ext uri="{FF2B5EF4-FFF2-40B4-BE49-F238E27FC236}">
                <a16:creationId xmlns:a16="http://schemas.microsoft.com/office/drawing/2014/main" id="{D5F0FE6B-18ED-4EA6-BC22-27860DE222A5}"/>
              </a:ext>
            </a:extLst>
          </p:cNvPr>
          <p:cNvSpPr>
            <a:spLocks noChangeArrowheads="1"/>
          </p:cNvSpPr>
          <p:nvPr>
            <p:custDataLst>
              <p:tags r:id="rId4"/>
            </p:custDataLst>
          </p:nvPr>
        </p:nvSpPr>
        <p:spPr bwMode="auto">
          <a:xfrm>
            <a:off x="1020844" y="5226047"/>
            <a:ext cx="1922193"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lang="en-GB" sz="1400" dirty="0"/>
              <a:t>Seller’s perspective</a:t>
            </a:r>
            <a:endParaRPr kumimoji="0" lang="en-GB" sz="1400" i="0" u="none" strike="noStrike" kern="1200" cap="none" spc="0" normalizeH="0" baseline="0" noProof="0" dirty="0">
              <a:ln>
                <a:noFill/>
              </a:ln>
              <a:effectLst/>
              <a:uLnTx/>
              <a:uFillTx/>
              <a:ea typeface="+mn-ea"/>
              <a:cs typeface="+mn-cs"/>
            </a:endParaRPr>
          </a:p>
        </p:txBody>
      </p:sp>
    </p:spTree>
    <p:extLst>
      <p:ext uri="{BB962C8B-B14F-4D97-AF65-F5344CB8AC3E}">
        <p14:creationId xmlns:p14="http://schemas.microsoft.com/office/powerpoint/2010/main" val="11269423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US" sz="2000" b="0" kern="0" dirty="0">
                <a:solidFill>
                  <a:srgbClr val="002776"/>
                </a:solidFill>
              </a:rPr>
              <a:t>One-step versus staged transactions</a:t>
            </a:r>
            <a:endParaRPr lang="en-AU" b="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7</a:t>
            </a:fld>
            <a:endParaRPr lang="en-IN" dirty="0"/>
          </a:p>
        </p:txBody>
      </p:sp>
      <p:sp>
        <p:nvSpPr>
          <p:cNvPr id="3" name="TextBox 2">
            <a:extLst>
              <a:ext uri="{FF2B5EF4-FFF2-40B4-BE49-F238E27FC236}">
                <a16:creationId xmlns:a16="http://schemas.microsoft.com/office/drawing/2014/main" id="{6DEF2CCE-9A39-4032-833C-D69732163F23}"/>
              </a:ext>
            </a:extLst>
          </p:cNvPr>
          <p:cNvSpPr txBox="1"/>
          <p:nvPr/>
        </p:nvSpPr>
        <p:spPr>
          <a:xfrm>
            <a:off x="600891" y="1628503"/>
            <a:ext cx="10986272" cy="2031325"/>
          </a:xfrm>
          <a:prstGeom prst="rect">
            <a:avLst/>
          </a:prstGeom>
          <a:noFill/>
        </p:spPr>
        <p:txBody>
          <a:bodyPr wrap="square" rtlCol="0">
            <a:spAutoFit/>
          </a:bodyPr>
          <a:lstStyle/>
          <a:p>
            <a:r>
              <a:rPr lang="en-US" dirty="0">
                <a:solidFill>
                  <a:srgbClr val="002060"/>
                </a:solidFill>
              </a:rPr>
              <a:t>Another key issue regarding the structure of the deal is whether the entire transaction will be completed in one step or whether it will occur over a series of steps. The parties may want to get to know each other </a:t>
            </a:r>
            <a:r>
              <a:rPr lang="en-GB" dirty="0">
                <a:solidFill>
                  <a:srgbClr val="002060"/>
                </a:solidFill>
              </a:rPr>
              <a:t>better </a:t>
            </a:r>
            <a:r>
              <a:rPr lang="en-US" dirty="0">
                <a:solidFill>
                  <a:srgbClr val="002060"/>
                </a:solidFill>
              </a:rPr>
              <a:t>before considering a full</a:t>
            </a:r>
            <a:r>
              <a:rPr lang="en-GB" dirty="0">
                <a:solidFill>
                  <a:srgbClr val="002060"/>
                </a:solidFill>
              </a:rPr>
              <a:t>-</a:t>
            </a:r>
            <a:r>
              <a:rPr lang="en-US" dirty="0">
                <a:solidFill>
                  <a:srgbClr val="002060"/>
                </a:solidFill>
              </a:rPr>
              <a:t>blown merger</a:t>
            </a:r>
            <a:r>
              <a:rPr lang="en-GB" dirty="0">
                <a:solidFill>
                  <a:srgbClr val="002060"/>
                </a:solidFill>
              </a:rPr>
              <a:t>, </a:t>
            </a:r>
            <a:r>
              <a:rPr lang="en-US" dirty="0">
                <a:solidFill>
                  <a:srgbClr val="002060"/>
                </a:solidFill>
              </a:rPr>
              <a:t>or there may be some contingencies affecting the value of the company that are driving the buyer</a:t>
            </a:r>
            <a:r>
              <a:rPr lang="en-GB" dirty="0">
                <a:solidFill>
                  <a:srgbClr val="002060"/>
                </a:solidFill>
              </a:rPr>
              <a:t>,</a:t>
            </a:r>
            <a:r>
              <a:rPr lang="en-US" dirty="0">
                <a:solidFill>
                  <a:srgbClr val="002060"/>
                </a:solidFill>
              </a:rPr>
              <a:t> or even the seller</a:t>
            </a:r>
            <a:r>
              <a:rPr lang="en-GB" dirty="0">
                <a:solidFill>
                  <a:srgbClr val="002060"/>
                </a:solidFill>
              </a:rPr>
              <a:t>,</a:t>
            </a:r>
            <a:r>
              <a:rPr lang="en-US" dirty="0">
                <a:solidFill>
                  <a:srgbClr val="002060"/>
                </a:solidFill>
              </a:rPr>
              <a:t> to want to slow things down and consider a preliminary transaction as the first step.</a:t>
            </a:r>
            <a:r>
              <a:rPr lang="en-GB" dirty="0">
                <a:solidFill>
                  <a:srgbClr val="002060"/>
                </a:solidFill>
              </a:rPr>
              <a:t> </a:t>
            </a:r>
            <a:r>
              <a:rPr lang="en-US" dirty="0">
                <a:solidFill>
                  <a:srgbClr val="002060"/>
                </a:solidFill>
              </a:rPr>
              <a:t>It is also possible that the seller believes that the long</a:t>
            </a:r>
            <a:r>
              <a:rPr lang="en-GB" dirty="0">
                <a:solidFill>
                  <a:srgbClr val="002060"/>
                </a:solidFill>
              </a:rPr>
              <a:t>-</a:t>
            </a:r>
            <a:r>
              <a:rPr lang="en-US" dirty="0">
                <a:solidFill>
                  <a:srgbClr val="002060"/>
                </a:solidFill>
              </a:rPr>
              <a:t>term value of the company may be much higher, and as a result would prefer to keep some of his chips still on the table.  </a:t>
            </a:r>
          </a:p>
        </p:txBody>
      </p:sp>
    </p:spTree>
    <p:extLst>
      <p:ext uri="{BB962C8B-B14F-4D97-AF65-F5344CB8AC3E}">
        <p14:creationId xmlns:p14="http://schemas.microsoft.com/office/powerpoint/2010/main" val="3441055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GB" sz="2000" b="0" kern="0" dirty="0">
                <a:solidFill>
                  <a:srgbClr val="002776"/>
                </a:solidFill>
              </a:rPr>
              <a:t>Method of payment</a:t>
            </a:r>
            <a:endParaRPr lang="en-AU" b="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8</a:t>
            </a:fld>
            <a:endParaRPr lang="en-IN" dirty="0"/>
          </a:p>
        </p:txBody>
      </p:sp>
      <p:sp>
        <p:nvSpPr>
          <p:cNvPr id="3" name="TextBox 2">
            <a:extLst>
              <a:ext uri="{FF2B5EF4-FFF2-40B4-BE49-F238E27FC236}">
                <a16:creationId xmlns:a16="http://schemas.microsoft.com/office/drawing/2014/main" id="{6DEF2CCE-9A39-4032-833C-D69732163F23}"/>
              </a:ext>
            </a:extLst>
          </p:cNvPr>
          <p:cNvSpPr txBox="1"/>
          <p:nvPr/>
        </p:nvSpPr>
        <p:spPr>
          <a:xfrm>
            <a:off x="600891" y="1628503"/>
            <a:ext cx="10986272" cy="646331"/>
          </a:xfrm>
          <a:prstGeom prst="rect">
            <a:avLst/>
          </a:prstGeom>
          <a:noFill/>
        </p:spPr>
        <p:txBody>
          <a:bodyPr wrap="square" rtlCol="0">
            <a:spAutoFit/>
          </a:bodyPr>
          <a:lstStyle/>
          <a:p>
            <a:r>
              <a:rPr lang="en-US" dirty="0">
                <a:solidFill>
                  <a:srgbClr val="002060"/>
                </a:solidFill>
              </a:rPr>
              <a:t>The way in which the seller will be paid is quite clearly one of the most important aspects of structuring the deal. The top 3 methods of payment commonly used in mergers and acquisitions are:</a:t>
            </a:r>
          </a:p>
        </p:txBody>
      </p:sp>
      <p:sp>
        <p:nvSpPr>
          <p:cNvPr id="5" name="Rectangle 4">
            <a:extLst>
              <a:ext uri="{FF2B5EF4-FFF2-40B4-BE49-F238E27FC236}">
                <a16:creationId xmlns:a16="http://schemas.microsoft.com/office/drawing/2014/main" id="{62E92608-F890-40B3-937F-3E16A767658D}"/>
              </a:ext>
            </a:extLst>
          </p:cNvPr>
          <p:cNvSpPr/>
          <p:nvPr/>
        </p:nvSpPr>
        <p:spPr>
          <a:xfrm>
            <a:off x="722808" y="2499261"/>
            <a:ext cx="3126380" cy="9289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Cash</a:t>
            </a:r>
          </a:p>
        </p:txBody>
      </p:sp>
      <p:sp>
        <p:nvSpPr>
          <p:cNvPr id="16" name="Rectangle 15">
            <a:extLst>
              <a:ext uri="{FF2B5EF4-FFF2-40B4-BE49-F238E27FC236}">
                <a16:creationId xmlns:a16="http://schemas.microsoft.com/office/drawing/2014/main" id="{640354B0-CA8B-49DF-AC6F-96F8E9EE30FE}"/>
              </a:ext>
            </a:extLst>
          </p:cNvPr>
          <p:cNvSpPr/>
          <p:nvPr/>
        </p:nvSpPr>
        <p:spPr>
          <a:xfrm>
            <a:off x="4497975" y="2499261"/>
            <a:ext cx="3126380" cy="9289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Stock</a:t>
            </a:r>
          </a:p>
        </p:txBody>
      </p:sp>
      <p:sp>
        <p:nvSpPr>
          <p:cNvPr id="17" name="Rectangle 16">
            <a:extLst>
              <a:ext uri="{FF2B5EF4-FFF2-40B4-BE49-F238E27FC236}">
                <a16:creationId xmlns:a16="http://schemas.microsoft.com/office/drawing/2014/main" id="{4F9AE484-6186-4692-8815-05F79EA8F026}"/>
              </a:ext>
            </a:extLst>
          </p:cNvPr>
          <p:cNvSpPr/>
          <p:nvPr/>
        </p:nvSpPr>
        <p:spPr>
          <a:xfrm>
            <a:off x="8273142" y="2499261"/>
            <a:ext cx="3126380" cy="9289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bt</a:t>
            </a:r>
          </a:p>
        </p:txBody>
      </p:sp>
    </p:spTree>
    <p:extLst>
      <p:ext uri="{BB962C8B-B14F-4D97-AF65-F5344CB8AC3E}">
        <p14:creationId xmlns:p14="http://schemas.microsoft.com/office/powerpoint/2010/main" val="18594295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277BE-B192-4EBA-977A-D3854CBCD4C8}"/>
              </a:ext>
            </a:extLst>
          </p:cNvPr>
          <p:cNvSpPr>
            <a:spLocks noGrp="1"/>
          </p:cNvSpPr>
          <p:nvPr>
            <p:ph type="title"/>
          </p:nvPr>
        </p:nvSpPr>
        <p:spPr/>
        <p:txBody>
          <a:bodyPr/>
          <a:lstStyle/>
          <a:p>
            <a:r>
              <a:rPr lang="en-US" sz="2400" kern="0" dirty="0">
                <a:solidFill>
                  <a:srgbClr val="002776"/>
                </a:solidFill>
              </a:rPr>
              <a:t>Structuring the deal</a:t>
            </a:r>
            <a:br>
              <a:rPr lang="en-US" sz="2400" kern="0" dirty="0">
                <a:solidFill>
                  <a:srgbClr val="002776"/>
                </a:solidFill>
              </a:rPr>
            </a:br>
            <a:r>
              <a:rPr lang="en-GB" sz="2000" b="0" kern="0" dirty="0">
                <a:solidFill>
                  <a:srgbClr val="002776"/>
                </a:solidFill>
              </a:rPr>
              <a:t>Method of payment</a:t>
            </a:r>
            <a:endParaRPr lang="en-AU" b="0" dirty="0"/>
          </a:p>
        </p:txBody>
      </p:sp>
      <p:sp>
        <p:nvSpPr>
          <p:cNvPr id="4" name="Slide Number Placeholder 3">
            <a:extLst>
              <a:ext uri="{FF2B5EF4-FFF2-40B4-BE49-F238E27FC236}">
                <a16:creationId xmlns:a16="http://schemas.microsoft.com/office/drawing/2014/main" id="{67590828-6C1C-4AC3-9FBF-8A5D2EB3D413}"/>
              </a:ext>
            </a:extLst>
          </p:cNvPr>
          <p:cNvSpPr>
            <a:spLocks noGrp="1"/>
          </p:cNvSpPr>
          <p:nvPr>
            <p:ph type="sldNum" sz="quarter" idx="4"/>
          </p:nvPr>
        </p:nvSpPr>
        <p:spPr/>
        <p:txBody>
          <a:bodyPr/>
          <a:lstStyle/>
          <a:p>
            <a:fld id="{37F5C94B-8C55-478B-B509-BAE6A06B2E2A}" type="slidenum">
              <a:rPr lang="en-IN" smtClean="0"/>
              <a:pPr/>
              <a:t>9</a:t>
            </a:fld>
            <a:endParaRPr lang="en-IN" dirty="0"/>
          </a:p>
        </p:txBody>
      </p:sp>
      <p:sp>
        <p:nvSpPr>
          <p:cNvPr id="3" name="TextBox 2">
            <a:extLst>
              <a:ext uri="{FF2B5EF4-FFF2-40B4-BE49-F238E27FC236}">
                <a16:creationId xmlns:a16="http://schemas.microsoft.com/office/drawing/2014/main" id="{6DEF2CCE-9A39-4032-833C-D69732163F23}"/>
              </a:ext>
            </a:extLst>
          </p:cNvPr>
          <p:cNvSpPr txBox="1"/>
          <p:nvPr/>
        </p:nvSpPr>
        <p:spPr>
          <a:xfrm>
            <a:off x="600891" y="1628503"/>
            <a:ext cx="10986272" cy="646331"/>
          </a:xfrm>
          <a:prstGeom prst="rect">
            <a:avLst/>
          </a:prstGeom>
          <a:noFill/>
        </p:spPr>
        <p:txBody>
          <a:bodyPr wrap="square" rtlCol="0">
            <a:spAutoFit/>
          </a:bodyPr>
          <a:lstStyle/>
          <a:p>
            <a:r>
              <a:rPr lang="en-US" dirty="0">
                <a:solidFill>
                  <a:srgbClr val="002060"/>
                </a:solidFill>
              </a:rPr>
              <a:t>The way in which the seller will be paid is quite clearly one of the most important aspects of structuring the deal. The top 3 methods of payment commonly used in mergers and acquisitions are:</a:t>
            </a:r>
          </a:p>
        </p:txBody>
      </p:sp>
      <p:sp>
        <p:nvSpPr>
          <p:cNvPr id="5" name="Rectangle 4">
            <a:extLst>
              <a:ext uri="{FF2B5EF4-FFF2-40B4-BE49-F238E27FC236}">
                <a16:creationId xmlns:a16="http://schemas.microsoft.com/office/drawing/2014/main" id="{62E92608-F890-40B3-937F-3E16A767658D}"/>
              </a:ext>
            </a:extLst>
          </p:cNvPr>
          <p:cNvSpPr/>
          <p:nvPr/>
        </p:nvSpPr>
        <p:spPr>
          <a:xfrm>
            <a:off x="722808" y="2499261"/>
            <a:ext cx="3126380" cy="9289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Cash</a:t>
            </a:r>
          </a:p>
        </p:txBody>
      </p:sp>
      <p:sp>
        <p:nvSpPr>
          <p:cNvPr id="16" name="Rectangle 15">
            <a:extLst>
              <a:ext uri="{FF2B5EF4-FFF2-40B4-BE49-F238E27FC236}">
                <a16:creationId xmlns:a16="http://schemas.microsoft.com/office/drawing/2014/main" id="{640354B0-CA8B-49DF-AC6F-96F8E9EE30FE}"/>
              </a:ext>
            </a:extLst>
          </p:cNvPr>
          <p:cNvSpPr/>
          <p:nvPr/>
        </p:nvSpPr>
        <p:spPr>
          <a:xfrm>
            <a:off x="4497975" y="2499261"/>
            <a:ext cx="3126380" cy="9289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Stock</a:t>
            </a:r>
          </a:p>
        </p:txBody>
      </p:sp>
      <p:sp>
        <p:nvSpPr>
          <p:cNvPr id="17" name="Rectangle 16">
            <a:extLst>
              <a:ext uri="{FF2B5EF4-FFF2-40B4-BE49-F238E27FC236}">
                <a16:creationId xmlns:a16="http://schemas.microsoft.com/office/drawing/2014/main" id="{4F9AE484-6186-4692-8815-05F79EA8F026}"/>
              </a:ext>
            </a:extLst>
          </p:cNvPr>
          <p:cNvSpPr/>
          <p:nvPr/>
        </p:nvSpPr>
        <p:spPr>
          <a:xfrm>
            <a:off x="8273142" y="2499261"/>
            <a:ext cx="3126380" cy="92891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Debt</a:t>
            </a:r>
          </a:p>
        </p:txBody>
      </p:sp>
      <p:sp>
        <p:nvSpPr>
          <p:cNvPr id="19" name="Arrow: Down 18">
            <a:extLst>
              <a:ext uri="{FF2B5EF4-FFF2-40B4-BE49-F238E27FC236}">
                <a16:creationId xmlns:a16="http://schemas.microsoft.com/office/drawing/2014/main" id="{2FD49853-391F-40FD-855B-9EA38C7F4726}"/>
              </a:ext>
            </a:extLst>
          </p:cNvPr>
          <p:cNvSpPr/>
          <p:nvPr/>
        </p:nvSpPr>
        <p:spPr>
          <a:xfrm>
            <a:off x="2037806" y="3535680"/>
            <a:ext cx="391885" cy="3135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A82CBEC-26F3-4A37-9DD5-443933E144B9}"/>
              </a:ext>
            </a:extLst>
          </p:cNvPr>
          <p:cNvSpPr/>
          <p:nvPr/>
        </p:nvSpPr>
        <p:spPr>
          <a:xfrm>
            <a:off x="722808" y="3970104"/>
            <a:ext cx="10676713" cy="21868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solidFill>
                  <a:schemeClr val="tx2"/>
                </a:solidFill>
              </a:rPr>
              <a:t>The form of payment generally preferred by the shareholders of the acquiree is cash. It is particularly appreciated by shareholders who are unable to sell their stock by other means, which is the case for most privately-held companies. In addition, they no longer have to worry about the future performance of their company impacting the amount that they will be paid. The degree to which cash is preferred is indicated by the extent to which sellers are generally willing to accept a smaller amount of cash rather than a larger payment in stock or debt. However, a cash payment also means that the selling shareholders must pay income taxes on any gains immediately.</a:t>
            </a:r>
          </a:p>
          <a:p>
            <a:endParaRPr lang="en-GB" sz="1200" dirty="0">
              <a:solidFill>
                <a:schemeClr val="tx2"/>
              </a:solidFill>
            </a:endParaRPr>
          </a:p>
          <a:p>
            <a:r>
              <a:rPr lang="en-GB" sz="1200" dirty="0">
                <a:solidFill>
                  <a:schemeClr val="tx2"/>
                </a:solidFill>
              </a:rPr>
              <a:t>From the perspective of the acquirer, a cash payment presents both advantages and disadvantages. One advantage is that, in a competitive bidding situation, the bid of the buyer willing to pay cash is more likely to be accepted by the seller. Also, not paying in stock means that any future upside performance generated by the acquisition accrues solely to the existing shareholders of the acquirer – the shareholders of the acquiree are taking cash instead, so they are blocked from the gains.</a:t>
            </a:r>
            <a:endParaRPr lang="en-US" sz="1200" dirty="0">
              <a:solidFill>
                <a:schemeClr val="tx2"/>
              </a:solidFill>
            </a:endParaRPr>
          </a:p>
        </p:txBody>
      </p:sp>
    </p:spTree>
    <p:extLst>
      <p:ext uri="{BB962C8B-B14F-4D97-AF65-F5344CB8AC3E}">
        <p14:creationId xmlns:p14="http://schemas.microsoft.com/office/powerpoint/2010/main" val="2987702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Props1.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docProps/app.xml><?xml version="1.0" encoding="utf-8"?>
<Properties xmlns="http://schemas.openxmlformats.org/officeDocument/2006/extended-properties" xmlns:vt="http://schemas.openxmlformats.org/officeDocument/2006/docPropsVTypes">
  <Template/>
  <TotalTime>3633</TotalTime>
  <Words>3813</Words>
  <Application>Microsoft Office PowerPoint</Application>
  <PresentationFormat>Widescreen</PresentationFormat>
  <Paragraphs>293</Paragraphs>
  <Slides>18</Slides>
  <Notes>6</Notes>
  <HiddenSlides>0</HiddenSlides>
  <MMClips>0</MMClips>
  <ScaleCrop>false</ScaleCrop>
  <HeadingPairs>
    <vt:vector size="8" baseType="variant">
      <vt:variant>
        <vt:lpstr>Fonts Used</vt:lpstr>
      </vt:variant>
      <vt:variant>
        <vt:i4>2</vt:i4>
      </vt:variant>
      <vt:variant>
        <vt:lpstr>Theme</vt:lpstr>
      </vt:variant>
      <vt:variant>
        <vt:i4>9</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Transaction Execution</vt:lpstr>
      <vt:lpstr>This deliverable will focus on the 5th phase of our Mergers &amp; Acquisitions 6-phase approach</vt:lpstr>
      <vt:lpstr>Table of contents</vt:lpstr>
      <vt:lpstr>Structuring the deal Overview*</vt:lpstr>
      <vt:lpstr>Structuring the deal Stock versus asset purchases</vt:lpstr>
      <vt:lpstr>Structuring the deal Stock versus asset purchases</vt:lpstr>
      <vt:lpstr>Structuring the deal One-step versus staged transactions</vt:lpstr>
      <vt:lpstr>Structuring the deal Method of payment</vt:lpstr>
      <vt:lpstr>Structuring the deal Method of payment</vt:lpstr>
      <vt:lpstr>Structuring the deal Methods of payment</vt:lpstr>
      <vt:lpstr>Structuring the deal Methods of payment</vt:lpstr>
      <vt:lpstr>Table of contents</vt:lpstr>
      <vt:lpstr>M&amp;A negotiations</vt:lpstr>
      <vt:lpstr>Table of contents</vt:lpstr>
      <vt:lpstr>Signing and closing the M&amp;A deal Overview</vt:lpstr>
      <vt:lpstr>Signing and closing the M&amp;A deal Zoom on signing</vt:lpstr>
      <vt:lpstr>Signing and closing the M&amp;A deal Zoom on closing</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7</cp:revision>
  <dcterms:created xsi:type="dcterms:W3CDTF">2020-07-08T04:44:55Z</dcterms:created>
  <dcterms:modified xsi:type="dcterms:W3CDTF">2023-06-14T02:54:1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